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248" r:id="rId1"/>
  </p:sldMasterIdLst>
  <p:notesMasterIdLst>
    <p:notesMasterId r:id="rId42"/>
  </p:notesMasterIdLst>
  <p:sldIdLst>
    <p:sldId id="258" r:id="rId2"/>
    <p:sldId id="259" r:id="rId3"/>
    <p:sldId id="257" r:id="rId4"/>
    <p:sldId id="260" r:id="rId5"/>
    <p:sldId id="261" r:id="rId6"/>
    <p:sldId id="262" r:id="rId7"/>
    <p:sldId id="268" r:id="rId8"/>
    <p:sldId id="263" r:id="rId9"/>
    <p:sldId id="266" r:id="rId10"/>
    <p:sldId id="265" r:id="rId11"/>
    <p:sldId id="278" r:id="rId12"/>
    <p:sldId id="279" r:id="rId13"/>
    <p:sldId id="280" r:id="rId14"/>
    <p:sldId id="281" r:id="rId15"/>
    <p:sldId id="282" r:id="rId16"/>
    <p:sldId id="283" r:id="rId17"/>
    <p:sldId id="284" r:id="rId18"/>
    <p:sldId id="285" r:id="rId19"/>
    <p:sldId id="286" r:id="rId20"/>
    <p:sldId id="287" r:id="rId21"/>
    <p:sldId id="288" r:id="rId22"/>
    <p:sldId id="289" r:id="rId23"/>
    <p:sldId id="290" r:id="rId24"/>
    <p:sldId id="291" r:id="rId25"/>
    <p:sldId id="292" r:id="rId26"/>
    <p:sldId id="293" r:id="rId27"/>
    <p:sldId id="294" r:id="rId28"/>
    <p:sldId id="295" r:id="rId29"/>
    <p:sldId id="296" r:id="rId30"/>
    <p:sldId id="297" r:id="rId31"/>
    <p:sldId id="267" r:id="rId32"/>
    <p:sldId id="269" r:id="rId33"/>
    <p:sldId id="270" r:id="rId34"/>
    <p:sldId id="271" r:id="rId35"/>
    <p:sldId id="272" r:id="rId36"/>
    <p:sldId id="277" r:id="rId37"/>
    <p:sldId id="273" r:id="rId38"/>
    <p:sldId id="274" r:id="rId39"/>
    <p:sldId id="275" r:id="rId40"/>
    <p:sldId id="276" r:id="rId41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FF7FF"/>
    <a:srgbClr val="D9ED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324" autoAdjust="0"/>
    <p:restoredTop sz="94660"/>
  </p:normalViewPr>
  <p:slideViewPr>
    <p:cSldViewPr>
      <p:cViewPr varScale="1">
        <p:scale>
          <a:sx n="69" d="100"/>
          <a:sy n="69" d="100"/>
        </p:scale>
        <p:origin x="-1386" y="-12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214E26C-ECF0-49B6-A0CC-0702F478DFF6}" type="datetimeFigureOut">
              <a:rPr lang="en-US" smtClean="0"/>
              <a:t>1/3/201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4B0D0FF-1570-4AF1-9558-138403D609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65721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B0D0FF-1570-4AF1-9558-138403D60916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58731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w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58"/>
          <p:cNvGrpSpPr>
            <a:grpSpLocks/>
          </p:cNvGrpSpPr>
          <p:nvPr/>
        </p:nvGrpSpPr>
        <p:grpSpPr bwMode="auto">
          <a:xfrm>
            <a:off x="342900" y="455613"/>
            <a:ext cx="8017120" cy="844550"/>
            <a:chOff x="234" y="287"/>
            <a:chExt cx="5471" cy="532"/>
          </a:xfrm>
        </p:grpSpPr>
        <p:pic>
          <p:nvPicPr>
            <p:cNvPr id="3" name="Picture 155" descr="BCG_Monogram_RGB"/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85" y="341"/>
              <a:ext cx="1020" cy="4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" name="Picture 156" descr="AV_LOGO_PRIMARY_RGB"/>
            <p:cNvPicPr>
              <a:picLocks noChangeAspect="1" noChangeArrowheads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06" y="309"/>
              <a:ext cx="1120" cy="4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" name="Picture 157" descr="PR-TAC_LOGO_RGB-2"/>
            <p:cNvPicPr>
              <a:picLocks noChangeAspect="1" noChangeArrowheads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4" y="287"/>
              <a:ext cx="1814" cy="5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8478060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28069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46984" y="163514"/>
            <a:ext cx="2074985" cy="5932487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22031" y="163514"/>
            <a:ext cx="6084277" cy="5932487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101368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7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fld id="{0AE1D996-4FEF-42E9-9060-AAB695BD2DD4}" type="datetimeFigureOut">
              <a:rPr lang="en-US" smtClean="0"/>
              <a:t>1/3/201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fld id="{72AD4F48-3F6A-464B-B30F-B82DB5184FA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1783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540243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435" y="4406901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435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59867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22031" y="1506538"/>
            <a:ext cx="4079631" cy="45894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2338" y="1506538"/>
            <a:ext cx="4079631" cy="45894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07392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066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066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270" y="1535113"/>
            <a:ext cx="4041531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270" y="2174875"/>
            <a:ext cx="4041531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953816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95848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4297787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435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538" y="273051"/>
            <a:ext cx="5111262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1"/>
            <a:ext cx="3008435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9402959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166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166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166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3582684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tags" Target="../tags/tag4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FF7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Rectangle 132" hidden="1"/>
          <p:cNvGraphicFramePr>
            <a:graphicFrameLocks/>
          </p:cNvGraphicFramePr>
          <p:nvPr>
            <p:custDataLst>
              <p:tags r:id="rId15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8" name="think-cell Slide" r:id="rId20" imgW="0" imgH="0" progId="TCLayout.ActiveDocument.1">
                  <p:embed/>
                </p:oleObj>
              </mc:Choice>
              <mc:Fallback>
                <p:oleObj name="think-cell Slide" r:id="rId20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Rectangle 2"/>
          <p:cNvSpPr>
            <a:spLocks noGrp="1" noChangeArrowheads="1"/>
          </p:cNvSpPr>
          <p:nvPr>
            <p:ph type="title"/>
            <p:custDataLst>
              <p:tags r:id="rId16"/>
            </p:custDataLst>
          </p:nvPr>
        </p:nvSpPr>
        <p:spPr bwMode="auto">
          <a:xfrm>
            <a:off x="422031" y="163513"/>
            <a:ext cx="8299938" cy="831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13" rIns="0" bIns="45713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pl-PL" smtClean="0"/>
              <a:t>Slide title</a:t>
            </a:r>
          </a:p>
        </p:txBody>
      </p:sp>
      <p:sp>
        <p:nvSpPr>
          <p:cNvPr id="1029" name="Rectangle 10"/>
          <p:cNvSpPr>
            <a:spLocks noGrp="1" noChangeArrowheads="1"/>
          </p:cNvSpPr>
          <p:nvPr>
            <p:ph type="body" idx="1"/>
            <p:custDataLst>
              <p:tags r:id="rId17"/>
            </p:custDataLst>
          </p:nvPr>
        </p:nvSpPr>
        <p:spPr bwMode="auto">
          <a:xfrm>
            <a:off x="422031" y="1506538"/>
            <a:ext cx="8299938" cy="4589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l-PL" smtClean="0"/>
              <a:t>Body text</a:t>
            </a:r>
          </a:p>
          <a:p>
            <a:pPr lvl="1"/>
            <a:r>
              <a:rPr lang="pl-PL" smtClean="0"/>
              <a:t>First level</a:t>
            </a:r>
          </a:p>
          <a:p>
            <a:pPr lvl="2"/>
            <a:r>
              <a:rPr lang="pl-PL" smtClean="0"/>
              <a:t>Second level</a:t>
            </a:r>
          </a:p>
          <a:p>
            <a:pPr lvl="3"/>
            <a:r>
              <a:rPr lang="pl-PL" smtClean="0"/>
              <a:t>Third level</a:t>
            </a:r>
          </a:p>
          <a:p>
            <a:pPr lvl="4"/>
            <a:r>
              <a:rPr lang="pl-PL" smtClean="0"/>
              <a:t>Quotation level</a:t>
            </a:r>
          </a:p>
        </p:txBody>
      </p:sp>
      <p:sp>
        <p:nvSpPr>
          <p:cNvPr id="1036" name="Text Box 12"/>
          <p:cNvSpPr txBox="1"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8546123" y="6673850"/>
            <a:ext cx="175846" cy="1333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>
              <a:defRPr/>
            </a:pPr>
            <a:fld id="{1C8277A1-3712-484F-AD78-212917B37D65}" type="slidenum">
              <a:rPr lang="pl-PL" sz="900"/>
              <a:pPr algn="r">
                <a:defRPr/>
              </a:pPr>
              <a:t>‹#›</a:t>
            </a:fld>
            <a:endParaRPr lang="pl-PL" sz="900"/>
          </a:p>
        </p:txBody>
      </p:sp>
      <p:sp>
        <p:nvSpPr>
          <p:cNvPr id="1139" name="Line 115"/>
          <p:cNvSpPr>
            <a:spLocks noChangeShapeType="1"/>
          </p:cNvSpPr>
          <p:nvPr>
            <p:custDataLst>
              <p:tags r:id="rId19"/>
            </p:custDataLst>
          </p:nvPr>
        </p:nvSpPr>
        <p:spPr bwMode="auto">
          <a:xfrm flipH="1">
            <a:off x="0" y="1003300"/>
            <a:ext cx="9144000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  <a:effectLst>
            <a:outerShdw dist="25400" dir="5400000" algn="ctr" rotWithShape="0">
              <a:schemeClr val="folHlink"/>
            </a:outerShdw>
          </a:effectLst>
        </p:spPr>
        <p:txBody>
          <a:bodyPr/>
          <a:lstStyle/>
          <a:p>
            <a:pPr>
              <a:defRPr/>
            </a:pP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49" r:id="rId1"/>
    <p:sldLayoutId id="2147484250" r:id="rId2"/>
    <p:sldLayoutId id="2147484251" r:id="rId3"/>
    <p:sldLayoutId id="2147484252" r:id="rId4"/>
    <p:sldLayoutId id="2147484253" r:id="rId5"/>
    <p:sldLayoutId id="2147484254" r:id="rId6"/>
    <p:sldLayoutId id="2147484255" r:id="rId7"/>
    <p:sldLayoutId id="2147484256" r:id="rId8"/>
    <p:sldLayoutId id="2147484257" r:id="rId9"/>
    <p:sldLayoutId id="2147484258" r:id="rId10"/>
    <p:sldLayoutId id="2147484259" r:id="rId11"/>
    <p:sldLayoutId id="2147484260" r:id="rId12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•"/>
        <a:defRPr sz="1600" b="1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  <a:cs typeface="+mn-cs"/>
        </a:defRPr>
      </a:lvl2pPr>
      <a:lvl3pPr marL="914400" indent="-22860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3pPr>
      <a:lvl4pPr marL="1376363" indent="-233363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4pPr>
      <a:lvl5pPr marL="2058988" indent="-230188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5pPr>
      <a:lvl6pPr marL="2516188" indent="-230188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6pPr>
      <a:lvl7pPr marL="2973388" indent="-230188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7pPr>
      <a:lvl8pPr marL="3430588" indent="-230188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8pPr>
      <a:lvl9pPr marL="3887788" indent="-230188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0" y="533400"/>
            <a:ext cx="9144000" cy="3886200"/>
          </a:xfrm>
          <a:solidFill>
            <a:srgbClr val="EFF7FF"/>
          </a:solidFill>
        </p:spPr>
        <p:txBody>
          <a:bodyPr/>
          <a:lstStyle/>
          <a:p>
            <a:r>
              <a:rPr lang="en-US" sz="11500" dirty="0" err="1" smtClean="0">
                <a:solidFill>
                  <a:schemeClr val="tx2">
                    <a:lumMod val="75000"/>
                  </a:schemeClr>
                </a:solidFill>
              </a:rPr>
              <a:t>Studia</a:t>
            </a:r>
            <a:r>
              <a:rPr lang="en-US" sz="11500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</a:p>
          <a:p>
            <a:r>
              <a:rPr lang="en-US" sz="4400" dirty="0" smtClean="0">
                <a:solidFill>
                  <a:schemeClr val="tx2">
                    <a:lumMod val="75000"/>
                  </a:schemeClr>
                </a:solidFill>
              </a:rPr>
              <a:t/>
            </a:r>
            <a:br>
              <a:rPr lang="en-US" sz="4400" dirty="0" smtClean="0">
                <a:solidFill>
                  <a:schemeClr val="tx2">
                    <a:lumMod val="75000"/>
                  </a:schemeClr>
                </a:solidFill>
              </a:rPr>
            </a:br>
            <a:r>
              <a:rPr lang="en-US" sz="4800" dirty="0" smtClean="0">
                <a:solidFill>
                  <a:schemeClr val="tx2">
                    <a:lumMod val="75000"/>
                  </a:schemeClr>
                </a:solidFill>
              </a:rPr>
              <a:t>w UK i USA</a:t>
            </a:r>
            <a:endParaRPr lang="en-US" sz="4800" dirty="0">
              <a:solidFill>
                <a:schemeClr val="tx2">
                  <a:lumMod val="75000"/>
                </a:schemeClr>
              </a:solidFill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762000" y="4329545"/>
            <a:ext cx="7772400" cy="1917167"/>
            <a:chOff x="762000" y="4329545"/>
            <a:chExt cx="7772400" cy="1917167"/>
          </a:xfrm>
        </p:grpSpPr>
        <p:pic>
          <p:nvPicPr>
            <p:cNvPr id="4" name="Picture 3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2000" y="4329545"/>
              <a:ext cx="3802380" cy="1905000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24400" y="4329545"/>
              <a:ext cx="3810000" cy="1917167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</p:grpSp>
    </p:spTree>
    <p:extLst>
      <p:ext uri="{BB962C8B-B14F-4D97-AF65-F5344CB8AC3E}">
        <p14:creationId xmlns:p14="http://schemas.microsoft.com/office/powerpoint/2010/main" val="29999889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 bwMode="auto">
          <a:xfrm>
            <a:off x="-41565" y="0"/>
            <a:ext cx="9144000" cy="9767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13" rIns="0" bIns="45713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marL="548640"/>
            <a:r>
              <a:rPr lang="en-US" sz="4000" dirty="0" smtClean="0"/>
              <a:t>* </a:t>
            </a:r>
            <a:r>
              <a:rPr lang="pl-PL" sz="5400" dirty="0" smtClean="0"/>
              <a:t>Studia w UK</a:t>
            </a:r>
            <a:endParaRPr lang="en-US" sz="5400" dirty="0"/>
          </a:p>
        </p:txBody>
      </p:sp>
      <p:sp>
        <p:nvSpPr>
          <p:cNvPr id="7" name="Text Box 3"/>
          <p:cNvSpPr txBox="1">
            <a:spLocks noChangeArrowheads="1"/>
          </p:cNvSpPr>
          <p:nvPr/>
        </p:nvSpPr>
        <p:spPr bwMode="auto">
          <a:xfrm>
            <a:off x="990600" y="2133600"/>
            <a:ext cx="6324600" cy="31085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>
              <a:buFontTx/>
              <a:buChar char="•"/>
            </a:pPr>
            <a:r>
              <a:rPr lang="en-US" sz="2800"/>
              <a:t> Introduction</a:t>
            </a:r>
          </a:p>
          <a:p>
            <a:pPr>
              <a:buFontTx/>
              <a:buChar char="•"/>
            </a:pPr>
            <a:endParaRPr lang="en-US" sz="2800"/>
          </a:p>
          <a:p>
            <a:pPr>
              <a:buFontTx/>
              <a:buChar char="•"/>
            </a:pPr>
            <a:r>
              <a:rPr lang="en-US" sz="2800"/>
              <a:t> Entry requirements</a:t>
            </a:r>
          </a:p>
          <a:p>
            <a:pPr>
              <a:buFontTx/>
              <a:buChar char="•"/>
            </a:pPr>
            <a:endParaRPr lang="en-US" sz="2800"/>
          </a:p>
          <a:p>
            <a:pPr>
              <a:buFontTx/>
              <a:buChar char="•"/>
            </a:pPr>
            <a:r>
              <a:rPr lang="en-US" sz="2800"/>
              <a:t> Interviews</a:t>
            </a:r>
          </a:p>
          <a:p>
            <a:pPr>
              <a:buFontTx/>
              <a:buChar char="•"/>
            </a:pPr>
            <a:endParaRPr lang="en-US" sz="2800"/>
          </a:p>
          <a:p>
            <a:pPr>
              <a:buFontTx/>
              <a:buChar char="•"/>
            </a:pPr>
            <a:r>
              <a:rPr lang="en-US" sz="2800"/>
              <a:t> Preparation</a:t>
            </a:r>
          </a:p>
        </p:txBody>
      </p:sp>
    </p:spTree>
    <p:extLst>
      <p:ext uri="{BB962C8B-B14F-4D97-AF65-F5344CB8AC3E}">
        <p14:creationId xmlns:p14="http://schemas.microsoft.com/office/powerpoint/2010/main" val="5453104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 bwMode="auto">
          <a:xfrm>
            <a:off x="-41565" y="0"/>
            <a:ext cx="9144000" cy="9767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13" rIns="0" bIns="45713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marL="548640"/>
            <a:r>
              <a:rPr lang="en-US" sz="4000" dirty="0" smtClean="0"/>
              <a:t>* </a:t>
            </a:r>
            <a:r>
              <a:rPr lang="en-US" sz="5400" dirty="0" smtClean="0"/>
              <a:t>Dispelling the Myths!</a:t>
            </a:r>
            <a:endParaRPr lang="en-US" sz="5400" dirty="0"/>
          </a:p>
        </p:txBody>
      </p:sp>
      <p:sp>
        <p:nvSpPr>
          <p:cNvPr id="5" name="Text Box 3"/>
          <p:cNvSpPr txBox="1">
            <a:spLocks noChangeArrowheads="1"/>
          </p:cNvSpPr>
          <p:nvPr/>
        </p:nvSpPr>
        <p:spPr bwMode="auto">
          <a:xfrm>
            <a:off x="551656" y="1888331"/>
            <a:ext cx="8040688" cy="308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>
              <a:buFontTx/>
              <a:buChar char="•"/>
            </a:pPr>
            <a:r>
              <a:rPr lang="en-US" sz="2800"/>
              <a:t> Why apply to </a:t>
            </a:r>
            <a:r>
              <a:rPr lang="pl-PL" sz="2800"/>
              <a:t>Cambridge</a:t>
            </a:r>
            <a:r>
              <a:rPr lang="en-US" sz="2800"/>
              <a:t>?</a:t>
            </a:r>
          </a:p>
          <a:p>
            <a:pPr>
              <a:buFontTx/>
              <a:buChar char="•"/>
            </a:pPr>
            <a:endParaRPr lang="en-US" sz="2800"/>
          </a:p>
          <a:p>
            <a:pPr>
              <a:buFontTx/>
              <a:buChar char="•"/>
            </a:pPr>
            <a:r>
              <a:rPr lang="en-US" sz="2800"/>
              <a:t> What </a:t>
            </a:r>
            <a:r>
              <a:rPr lang="pl-PL" sz="2800"/>
              <a:t>they</a:t>
            </a:r>
            <a:r>
              <a:rPr lang="en-US" sz="2800"/>
              <a:t> look for at interview</a:t>
            </a:r>
          </a:p>
          <a:p>
            <a:pPr>
              <a:buFontTx/>
              <a:buChar char="•"/>
            </a:pPr>
            <a:endParaRPr lang="en-US" sz="2800"/>
          </a:p>
          <a:p>
            <a:pPr>
              <a:buFontTx/>
              <a:buChar char="•"/>
            </a:pPr>
            <a:r>
              <a:rPr lang="en-US" sz="2800"/>
              <a:t> How decisions on offers are made</a:t>
            </a:r>
          </a:p>
          <a:p>
            <a:pPr>
              <a:buFontTx/>
              <a:buChar char="•"/>
            </a:pPr>
            <a:endParaRPr lang="en-US" sz="2800"/>
          </a:p>
          <a:p>
            <a:pPr>
              <a:buFontTx/>
              <a:buChar char="•"/>
            </a:pPr>
            <a:r>
              <a:rPr lang="en-US" sz="2800"/>
              <a:t> Helping to decide whether Cambridge is right for you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15023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 bwMode="auto">
          <a:xfrm>
            <a:off x="-41565" y="0"/>
            <a:ext cx="9144000" cy="9767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13" rIns="0" bIns="45713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marL="548640"/>
            <a:r>
              <a:rPr lang="en-US" sz="4000" dirty="0" smtClean="0"/>
              <a:t>* </a:t>
            </a:r>
            <a:r>
              <a:rPr lang="en-US" sz="5400" dirty="0" smtClean="0"/>
              <a:t>Why Cambridge?</a:t>
            </a:r>
            <a:endParaRPr lang="en-US" sz="5400" dirty="0"/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1201738" y="1759744"/>
            <a:ext cx="3597275" cy="519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>
              <a:buFontTx/>
              <a:buChar char="•"/>
            </a:pPr>
            <a:r>
              <a:rPr lang="en-US" sz="2800"/>
              <a:t> The question to ask is;</a:t>
            </a:r>
            <a:endParaRPr lang="en-US"/>
          </a:p>
        </p:txBody>
      </p:sp>
      <p:sp>
        <p:nvSpPr>
          <p:cNvPr id="7" name="Text Box 12"/>
          <p:cNvSpPr txBox="1">
            <a:spLocks noChangeArrowheads="1"/>
          </p:cNvSpPr>
          <p:nvPr/>
        </p:nvSpPr>
        <p:spPr bwMode="auto">
          <a:xfrm>
            <a:off x="1963738" y="2445544"/>
            <a:ext cx="5707063" cy="519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r>
              <a:rPr lang="en-US" sz="2800" b="1" i="1"/>
              <a:t>Why shouldn’t I apply to Cambridge?</a:t>
            </a:r>
            <a:endParaRPr lang="en-US"/>
          </a:p>
        </p:txBody>
      </p:sp>
      <p:sp>
        <p:nvSpPr>
          <p:cNvPr id="8" name="Text Box 13"/>
          <p:cNvSpPr txBox="1">
            <a:spLocks noChangeArrowheads="1"/>
          </p:cNvSpPr>
          <p:nvPr/>
        </p:nvSpPr>
        <p:spPr bwMode="auto">
          <a:xfrm>
            <a:off x="1201738" y="3207544"/>
            <a:ext cx="2673350" cy="519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r>
              <a:rPr lang="en-US" sz="2800"/>
              <a:t>Only two reasons</a:t>
            </a:r>
            <a:endParaRPr lang="en-US"/>
          </a:p>
        </p:txBody>
      </p:sp>
      <p:sp>
        <p:nvSpPr>
          <p:cNvPr id="9" name="Text Box 14"/>
          <p:cNvSpPr txBox="1">
            <a:spLocks noChangeArrowheads="1"/>
          </p:cNvSpPr>
          <p:nvPr/>
        </p:nvSpPr>
        <p:spPr bwMode="auto">
          <a:xfrm>
            <a:off x="2268538" y="3969544"/>
            <a:ext cx="3640138" cy="519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r>
              <a:rPr lang="en-US" sz="2800"/>
              <a:t>1. I won’t get the grades</a:t>
            </a:r>
            <a:endParaRPr lang="en-US"/>
          </a:p>
        </p:txBody>
      </p:sp>
      <p:sp>
        <p:nvSpPr>
          <p:cNvPr id="10" name="Text Box 15"/>
          <p:cNvSpPr txBox="1">
            <a:spLocks noChangeArrowheads="1"/>
          </p:cNvSpPr>
          <p:nvPr/>
        </p:nvSpPr>
        <p:spPr bwMode="auto">
          <a:xfrm>
            <a:off x="2268538" y="4579144"/>
            <a:ext cx="5673725" cy="519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r>
              <a:rPr lang="en-US" sz="2800"/>
              <a:t>2. The course I want is not appropriat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15023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 bwMode="auto">
          <a:xfrm>
            <a:off x="-41565" y="0"/>
            <a:ext cx="9144000" cy="9767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13" rIns="0" bIns="45713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marL="548640"/>
            <a:r>
              <a:rPr lang="en-US" sz="4000" dirty="0" smtClean="0"/>
              <a:t>* </a:t>
            </a:r>
            <a:r>
              <a:rPr lang="en-US" sz="5400" dirty="0" smtClean="0"/>
              <a:t>Why Cambridge?</a:t>
            </a:r>
            <a:endParaRPr lang="en-US" sz="5400" dirty="0"/>
          </a:p>
        </p:txBody>
      </p:sp>
      <p:sp>
        <p:nvSpPr>
          <p:cNvPr id="7" name="Text Box 3076"/>
          <p:cNvSpPr txBox="1">
            <a:spLocks noChangeArrowheads="1"/>
          </p:cNvSpPr>
          <p:nvPr/>
        </p:nvSpPr>
        <p:spPr bwMode="auto">
          <a:xfrm>
            <a:off x="1204119" y="2272506"/>
            <a:ext cx="6735763" cy="519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>
              <a:buFontTx/>
              <a:buChar char="•"/>
            </a:pPr>
            <a:r>
              <a:rPr lang="en-US" sz="2800"/>
              <a:t> How many libraries are there in Cambridge?</a:t>
            </a:r>
            <a:endParaRPr lang="en-US"/>
          </a:p>
        </p:txBody>
      </p:sp>
      <p:sp>
        <p:nvSpPr>
          <p:cNvPr id="8" name="Text Box 3077"/>
          <p:cNvSpPr txBox="1">
            <a:spLocks noChangeArrowheads="1"/>
          </p:cNvSpPr>
          <p:nvPr/>
        </p:nvSpPr>
        <p:spPr bwMode="auto">
          <a:xfrm>
            <a:off x="3261519" y="3085306"/>
            <a:ext cx="2241319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r>
              <a:rPr lang="en-US" sz="2800" dirty="0">
                <a:solidFill>
                  <a:srgbClr val="FF0000"/>
                </a:solidFill>
              </a:rPr>
              <a:t>Around 150 !!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9" name="Text Box 3078"/>
          <p:cNvSpPr txBox="1">
            <a:spLocks noChangeArrowheads="1"/>
          </p:cNvSpPr>
          <p:nvPr/>
        </p:nvSpPr>
        <p:spPr bwMode="auto">
          <a:xfrm>
            <a:off x="1874044" y="4066381"/>
            <a:ext cx="4989513" cy="519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>
              <a:buFontTx/>
              <a:buChar char="•"/>
            </a:pPr>
            <a:r>
              <a:rPr lang="en-US"/>
              <a:t> </a:t>
            </a:r>
            <a:r>
              <a:rPr lang="en-US" sz="2800"/>
              <a:t>Also 18 College Sports Grounds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25642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 bwMode="auto">
          <a:xfrm>
            <a:off x="-41565" y="0"/>
            <a:ext cx="9144000" cy="9767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13" rIns="0" bIns="45713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marL="548640"/>
            <a:r>
              <a:rPr lang="en-US" sz="4000" dirty="0" smtClean="0"/>
              <a:t>* </a:t>
            </a:r>
            <a:r>
              <a:rPr lang="en-US" sz="5400" dirty="0" smtClean="0"/>
              <a:t>Outstanding Resources</a:t>
            </a:r>
            <a:endParaRPr lang="en-US" sz="5400" dirty="0"/>
          </a:p>
        </p:txBody>
      </p:sp>
      <p:sp>
        <p:nvSpPr>
          <p:cNvPr id="10" name="Text Box 3"/>
          <p:cNvSpPr txBox="1">
            <a:spLocks noChangeArrowheads="1"/>
          </p:cNvSpPr>
          <p:nvPr/>
        </p:nvSpPr>
        <p:spPr bwMode="auto">
          <a:xfrm>
            <a:off x="710407" y="1674813"/>
            <a:ext cx="7723187" cy="3508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>
              <a:buFontTx/>
              <a:buChar char="•"/>
            </a:pPr>
            <a:r>
              <a:rPr lang="en-US" sz="2800"/>
              <a:t> Academically one of the best equipped universities in the world</a:t>
            </a:r>
          </a:p>
          <a:p>
            <a:pPr>
              <a:buFontTx/>
              <a:buChar char="•"/>
            </a:pPr>
            <a:endParaRPr lang="en-US" sz="2800"/>
          </a:p>
          <a:p>
            <a:pPr>
              <a:buFontTx/>
              <a:buChar char="•"/>
            </a:pPr>
            <a:r>
              <a:rPr lang="en-US" sz="2800"/>
              <a:t> Enormous range of extra-curricular opportunities</a:t>
            </a:r>
          </a:p>
          <a:p>
            <a:pPr>
              <a:buFontTx/>
              <a:buChar char="•"/>
            </a:pPr>
            <a:endParaRPr lang="en-US" sz="2800"/>
          </a:p>
          <a:p>
            <a:pPr>
              <a:buFontTx/>
              <a:buChar char="•"/>
            </a:pPr>
            <a:r>
              <a:rPr lang="en-US" sz="2800"/>
              <a:t> Something for everybody</a:t>
            </a:r>
          </a:p>
          <a:p>
            <a:pPr>
              <a:buFontTx/>
              <a:buChar char="•"/>
            </a:pPr>
            <a:endParaRPr lang="en-US" sz="2800"/>
          </a:p>
          <a:p>
            <a:pPr>
              <a:buFontTx/>
              <a:buChar char="•"/>
            </a:pPr>
            <a:r>
              <a:rPr lang="en-US" sz="2800"/>
              <a:t> Not just about getting a good degre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56970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 bwMode="auto">
          <a:xfrm>
            <a:off x="-41565" y="0"/>
            <a:ext cx="9144000" cy="9767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13" rIns="0" bIns="45713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marL="548640"/>
            <a:r>
              <a:rPr lang="en-US" sz="4000" dirty="0" smtClean="0"/>
              <a:t>* </a:t>
            </a:r>
            <a:r>
              <a:rPr lang="en-US" sz="5400" dirty="0" smtClean="0"/>
              <a:t>Financial Resources</a:t>
            </a:r>
            <a:endParaRPr lang="en-US" sz="5400" dirty="0"/>
          </a:p>
        </p:txBody>
      </p:sp>
      <p:sp>
        <p:nvSpPr>
          <p:cNvPr id="11" name="Text Box 3"/>
          <p:cNvSpPr txBox="1">
            <a:spLocks noChangeArrowheads="1"/>
          </p:cNvSpPr>
          <p:nvPr/>
        </p:nvSpPr>
        <p:spPr bwMode="auto">
          <a:xfrm>
            <a:off x="731188" y="1447800"/>
            <a:ext cx="7723188" cy="4832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>
              <a:buFontTx/>
              <a:buChar char="•"/>
            </a:pPr>
            <a:r>
              <a:rPr lang="en-US" sz="2800"/>
              <a:t> Cambridge is one of </a:t>
            </a:r>
            <a:r>
              <a:rPr lang="pl-PL" sz="2800"/>
              <a:t>the </a:t>
            </a:r>
            <a:r>
              <a:rPr lang="en-US" sz="2800"/>
              <a:t>cheapest UK universities at which to study</a:t>
            </a:r>
          </a:p>
          <a:p>
            <a:pPr>
              <a:buFontTx/>
              <a:buChar char="•"/>
            </a:pPr>
            <a:endParaRPr lang="en-US" sz="2800"/>
          </a:p>
          <a:p>
            <a:pPr>
              <a:buFontTx/>
              <a:buChar char="•"/>
            </a:pPr>
            <a:r>
              <a:rPr lang="en-US" sz="2800"/>
              <a:t> Colleges subsidise rents, sports, drama and music</a:t>
            </a:r>
          </a:p>
          <a:p>
            <a:pPr>
              <a:buFontTx/>
              <a:buChar char="•"/>
            </a:pPr>
            <a:endParaRPr lang="en-US" sz="2800"/>
          </a:p>
          <a:p>
            <a:pPr>
              <a:buFontTx/>
              <a:buChar char="•"/>
            </a:pPr>
            <a:r>
              <a:rPr lang="en-US" sz="2800"/>
              <a:t> Substantial College and University hardship funds available</a:t>
            </a:r>
          </a:p>
          <a:p>
            <a:pPr>
              <a:buFontTx/>
              <a:buChar char="•"/>
            </a:pPr>
            <a:endParaRPr lang="en-US" sz="2800"/>
          </a:p>
          <a:p>
            <a:pPr>
              <a:buFontTx/>
              <a:buChar char="•"/>
            </a:pPr>
            <a:r>
              <a:rPr lang="en-US" sz="2800"/>
              <a:t> Cambridge</a:t>
            </a:r>
            <a:r>
              <a:rPr lang="pl-PL" sz="2800"/>
              <a:t> </a:t>
            </a:r>
            <a:r>
              <a:rPr lang="en-US" sz="2800"/>
              <a:t>bursaries of up to £3,400 available per annum to </a:t>
            </a:r>
            <a:r>
              <a:rPr lang="pl-PL" sz="2800"/>
              <a:t>European</a:t>
            </a:r>
            <a:r>
              <a:rPr lang="en-US" sz="2800"/>
              <a:t> students (for household income up to £25k, and means-tested for higher income)</a:t>
            </a:r>
          </a:p>
        </p:txBody>
      </p:sp>
    </p:spTree>
    <p:extLst>
      <p:ext uri="{BB962C8B-B14F-4D97-AF65-F5344CB8AC3E}">
        <p14:creationId xmlns:p14="http://schemas.microsoft.com/office/powerpoint/2010/main" val="32456970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 bwMode="auto">
          <a:xfrm>
            <a:off x="-41565" y="0"/>
            <a:ext cx="9144000" cy="9767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13" rIns="0" bIns="45713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marL="548640"/>
            <a:r>
              <a:rPr lang="en-US" sz="4000" dirty="0" smtClean="0"/>
              <a:t>* </a:t>
            </a:r>
            <a:r>
              <a:rPr lang="en-US" sz="5400" dirty="0" smtClean="0"/>
              <a:t>Choice of College</a:t>
            </a:r>
            <a:endParaRPr lang="en-US" sz="5400" dirty="0"/>
          </a:p>
        </p:txBody>
      </p:sp>
      <p:sp>
        <p:nvSpPr>
          <p:cNvPr id="10" name="Text Box 1027"/>
          <p:cNvSpPr txBox="1">
            <a:spLocks noChangeArrowheads="1"/>
          </p:cNvSpPr>
          <p:nvPr/>
        </p:nvSpPr>
        <p:spPr bwMode="auto">
          <a:xfrm>
            <a:off x="743744" y="1147763"/>
            <a:ext cx="5715000" cy="519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>
              <a:buFontTx/>
              <a:buChar char="•"/>
            </a:pPr>
            <a:r>
              <a:rPr lang="en-US" sz="2800"/>
              <a:t> Source of much anxiety!</a:t>
            </a:r>
            <a:endParaRPr lang="en-US"/>
          </a:p>
        </p:txBody>
      </p:sp>
      <p:sp>
        <p:nvSpPr>
          <p:cNvPr id="11" name="Text Box 1028"/>
          <p:cNvSpPr txBox="1">
            <a:spLocks noChangeArrowheads="1"/>
          </p:cNvSpPr>
          <p:nvPr/>
        </p:nvSpPr>
        <p:spPr bwMode="auto">
          <a:xfrm>
            <a:off x="591344" y="4337051"/>
            <a:ext cx="7961313" cy="1373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>
              <a:buFontTx/>
              <a:buChar char="•"/>
            </a:pPr>
            <a:r>
              <a:rPr lang="en-US" sz="2800"/>
              <a:t> Wide cross-section of characters, many just like you!</a:t>
            </a:r>
          </a:p>
          <a:p>
            <a:pPr>
              <a:buFontTx/>
              <a:buChar char="•"/>
            </a:pPr>
            <a:endParaRPr lang="en-US" sz="2800"/>
          </a:p>
          <a:p>
            <a:pPr>
              <a:buFontTx/>
              <a:buChar char="•"/>
            </a:pPr>
            <a:r>
              <a:rPr lang="en-US" sz="2800"/>
              <a:t> If in doubt make an open application</a:t>
            </a:r>
            <a:endParaRPr lang="en-US"/>
          </a:p>
        </p:txBody>
      </p:sp>
      <p:sp>
        <p:nvSpPr>
          <p:cNvPr id="12" name="Text Box 1029"/>
          <p:cNvSpPr txBox="1">
            <a:spLocks noChangeArrowheads="1"/>
          </p:cNvSpPr>
          <p:nvPr/>
        </p:nvSpPr>
        <p:spPr bwMode="auto">
          <a:xfrm>
            <a:off x="1658144" y="1757363"/>
            <a:ext cx="5345113" cy="267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r>
              <a:rPr lang="en-US" sz="2800"/>
              <a:t>Have a reason;	Accommodation</a:t>
            </a:r>
          </a:p>
          <a:p>
            <a:r>
              <a:rPr lang="en-US" sz="2800"/>
              <a:t>			Gardens</a:t>
            </a:r>
          </a:p>
          <a:p>
            <a:r>
              <a:rPr lang="en-US" sz="2800"/>
              <a:t>			Buildings</a:t>
            </a:r>
          </a:p>
          <a:p>
            <a:r>
              <a:rPr lang="en-US" sz="2800"/>
              <a:t>			Location</a:t>
            </a:r>
          </a:p>
          <a:p>
            <a:r>
              <a:rPr lang="en-US" sz="2800"/>
              <a:t>			People</a:t>
            </a:r>
          </a:p>
          <a:p>
            <a:r>
              <a:rPr lang="en-US" sz="2800"/>
              <a:t>			</a:t>
            </a:r>
          </a:p>
        </p:txBody>
      </p:sp>
    </p:spTree>
    <p:extLst>
      <p:ext uri="{BB962C8B-B14F-4D97-AF65-F5344CB8AC3E}">
        <p14:creationId xmlns:p14="http://schemas.microsoft.com/office/powerpoint/2010/main" val="32456970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 bwMode="auto">
          <a:xfrm>
            <a:off x="-41565" y="0"/>
            <a:ext cx="9144000" cy="9767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13" rIns="0" bIns="45713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marL="548640"/>
            <a:r>
              <a:rPr lang="en-US" sz="4000" dirty="0" smtClean="0"/>
              <a:t>* </a:t>
            </a:r>
            <a:r>
              <a:rPr lang="en-US" sz="5400" dirty="0" smtClean="0"/>
              <a:t>The Admissions Process</a:t>
            </a:r>
            <a:endParaRPr lang="en-US" sz="5400" dirty="0"/>
          </a:p>
        </p:txBody>
      </p:sp>
      <p:sp>
        <p:nvSpPr>
          <p:cNvPr id="10" name="Text Box 3"/>
          <p:cNvSpPr txBox="1">
            <a:spLocks noChangeArrowheads="1"/>
          </p:cNvSpPr>
          <p:nvPr/>
        </p:nvSpPr>
        <p:spPr bwMode="auto">
          <a:xfrm>
            <a:off x="571500" y="2305843"/>
            <a:ext cx="8001000" cy="2246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>
              <a:buFontTx/>
              <a:buChar char="•"/>
            </a:pPr>
            <a:r>
              <a:rPr lang="en-US" sz="2800"/>
              <a:t> Admissions are run by colleges, not the University</a:t>
            </a:r>
          </a:p>
          <a:p>
            <a:pPr>
              <a:buFontTx/>
              <a:buChar char="•"/>
            </a:pPr>
            <a:endParaRPr lang="en-US" sz="2800"/>
          </a:p>
          <a:p>
            <a:pPr>
              <a:buFontTx/>
              <a:buChar char="•"/>
            </a:pPr>
            <a:r>
              <a:rPr lang="en-US" sz="2800"/>
              <a:t> All colleges are similar but do differ subtly in how they make decisions and process applications</a:t>
            </a:r>
          </a:p>
          <a:p>
            <a:pPr>
              <a:buFontTx/>
              <a:buChar char="•"/>
            </a:pPr>
            <a:endParaRPr lang="en-US" sz="2800"/>
          </a:p>
        </p:txBody>
      </p:sp>
    </p:spTree>
    <p:extLst>
      <p:ext uri="{BB962C8B-B14F-4D97-AF65-F5344CB8AC3E}">
        <p14:creationId xmlns:p14="http://schemas.microsoft.com/office/powerpoint/2010/main" val="32456970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 bwMode="auto">
          <a:xfrm>
            <a:off x="-41565" y="0"/>
            <a:ext cx="9144000" cy="9767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13" rIns="0" bIns="45713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marL="548640"/>
            <a:r>
              <a:rPr lang="en-US" sz="4000" dirty="0" smtClean="0"/>
              <a:t>* </a:t>
            </a:r>
            <a:r>
              <a:rPr lang="en-US" sz="5400" dirty="0" smtClean="0"/>
              <a:t>The Admissions Process</a:t>
            </a:r>
            <a:endParaRPr lang="en-US" sz="5400" dirty="0"/>
          </a:p>
        </p:txBody>
      </p:sp>
      <p:sp>
        <p:nvSpPr>
          <p:cNvPr id="10" name="Text Box 1027"/>
          <p:cNvSpPr txBox="1">
            <a:spLocks noChangeArrowheads="1"/>
          </p:cNvSpPr>
          <p:nvPr/>
        </p:nvSpPr>
        <p:spPr bwMode="auto">
          <a:xfrm>
            <a:off x="601663" y="1443832"/>
            <a:ext cx="7940675" cy="3970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>
              <a:buFontTx/>
              <a:buChar char="•"/>
            </a:pPr>
            <a:r>
              <a:rPr lang="en-US" sz="2800"/>
              <a:t> Begins by submitting on-line application to UCAS by mid-October and completing  Cambridge questionnaire</a:t>
            </a:r>
          </a:p>
          <a:p>
            <a:pPr>
              <a:buFontTx/>
              <a:buChar char="•"/>
            </a:pPr>
            <a:endParaRPr lang="en-US" sz="2800"/>
          </a:p>
          <a:p>
            <a:pPr>
              <a:buFontTx/>
              <a:buChar char="•"/>
            </a:pPr>
            <a:r>
              <a:rPr lang="en-US" sz="2800"/>
              <a:t> Application (via UCAS) is to one college only</a:t>
            </a:r>
          </a:p>
          <a:p>
            <a:pPr>
              <a:buFontTx/>
              <a:buChar char="•"/>
            </a:pPr>
            <a:endParaRPr lang="en-US" sz="2800"/>
          </a:p>
          <a:p>
            <a:pPr>
              <a:buFontTx/>
              <a:buChar char="•"/>
            </a:pPr>
            <a:r>
              <a:rPr lang="en-US" sz="2800"/>
              <a:t> Open applications entirely acceptable</a:t>
            </a:r>
          </a:p>
          <a:p>
            <a:pPr>
              <a:buFontTx/>
              <a:buChar char="•"/>
            </a:pPr>
            <a:endParaRPr lang="en-US" sz="2800"/>
          </a:p>
          <a:p>
            <a:pPr lvl="2">
              <a:buFont typeface="Wingdings" pitchFamily="2" charset="2"/>
              <a:buChar char="Ø"/>
            </a:pPr>
            <a:r>
              <a:rPr lang="en-US" sz="2800"/>
              <a:t> College allocated by computer algorithm</a:t>
            </a:r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2456970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 bwMode="auto">
          <a:xfrm>
            <a:off x="-41565" y="0"/>
            <a:ext cx="9144000" cy="9767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13" rIns="0" bIns="45713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marL="548640"/>
            <a:r>
              <a:rPr lang="en-US" sz="4000" dirty="0" smtClean="0"/>
              <a:t>* </a:t>
            </a:r>
            <a:r>
              <a:rPr lang="en-US" sz="5400" dirty="0" smtClean="0"/>
              <a:t>The Admissions Process</a:t>
            </a:r>
            <a:endParaRPr lang="en-US" sz="5400" dirty="0"/>
          </a:p>
        </p:txBody>
      </p:sp>
      <p:sp>
        <p:nvSpPr>
          <p:cNvPr id="3" name="Text Box 4"/>
          <p:cNvSpPr txBox="1">
            <a:spLocks noChangeArrowheads="1"/>
          </p:cNvSpPr>
          <p:nvPr/>
        </p:nvSpPr>
        <p:spPr bwMode="auto">
          <a:xfrm>
            <a:off x="685800" y="1447800"/>
            <a:ext cx="7772400" cy="4362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>
              <a:buFontTx/>
              <a:buChar char="•"/>
            </a:pPr>
            <a:r>
              <a:rPr lang="en-US" sz="2800"/>
              <a:t> Colleges receive just over 3 applications per place averaged across all subjects</a:t>
            </a:r>
          </a:p>
          <a:p>
            <a:pPr>
              <a:buFontTx/>
              <a:buChar char="•"/>
            </a:pPr>
            <a:endParaRPr lang="en-US" sz="2800"/>
          </a:p>
          <a:p>
            <a:pPr>
              <a:buFontTx/>
              <a:buChar char="•"/>
            </a:pPr>
            <a:r>
              <a:rPr lang="en-US" sz="2800"/>
              <a:t> Fitz is typical – in 2008 we received 456 applications for 147 places (3.01 applicns per place)</a:t>
            </a:r>
          </a:p>
          <a:p>
            <a:pPr>
              <a:buFontTx/>
              <a:buChar char="•"/>
            </a:pPr>
            <a:endParaRPr lang="en-US" sz="2800"/>
          </a:p>
          <a:p>
            <a:pPr>
              <a:buFontTx/>
              <a:buChar char="•"/>
            </a:pPr>
            <a:r>
              <a:rPr lang="en-US" sz="2800"/>
              <a:t> Applications ratios for Medicine, Veterinary Medicine, Philosophy and PPE are greater</a:t>
            </a:r>
          </a:p>
          <a:p>
            <a:pPr>
              <a:buFontTx/>
              <a:buChar char="•"/>
            </a:pPr>
            <a:endParaRPr lang="en-US" sz="2800"/>
          </a:p>
          <a:p>
            <a:pPr>
              <a:buFontTx/>
              <a:buChar char="•"/>
            </a:pPr>
            <a:r>
              <a:rPr lang="en-US" sz="2800"/>
              <a:t> Impossible to predict numbers from year to year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25932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 txBox="1">
            <a:spLocks/>
          </p:cNvSpPr>
          <p:nvPr/>
        </p:nvSpPr>
        <p:spPr bwMode="auto">
          <a:xfrm>
            <a:off x="0" y="13855"/>
            <a:ext cx="9144000" cy="9767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13" rIns="0" bIns="45713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marL="548640"/>
            <a:r>
              <a:rPr lang="en-US" sz="4000" dirty="0" smtClean="0"/>
              <a:t>* </a:t>
            </a:r>
            <a:r>
              <a:rPr lang="en-US" sz="5400" dirty="0" smtClean="0"/>
              <a:t>O </a:t>
            </a:r>
            <a:r>
              <a:rPr lang="en-US" sz="5400" dirty="0" err="1" smtClean="0"/>
              <a:t>nas</a:t>
            </a:r>
            <a:endParaRPr lang="en-US" sz="4000" dirty="0"/>
          </a:p>
        </p:txBody>
      </p:sp>
      <p:sp>
        <p:nvSpPr>
          <p:cNvPr id="6" name="TextBox 5"/>
          <p:cNvSpPr txBox="1"/>
          <p:nvPr/>
        </p:nvSpPr>
        <p:spPr>
          <a:xfrm>
            <a:off x="0" y="1011335"/>
            <a:ext cx="4495801" cy="2446824"/>
          </a:xfrm>
          <a:prstGeom prst="rect">
            <a:avLst/>
          </a:prstGeom>
          <a:noFill/>
        </p:spPr>
        <p:txBody>
          <a:bodyPr wrap="square" lIns="91440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pl-PL" sz="3600" b="1" dirty="0" smtClean="0">
                <a:solidFill>
                  <a:schemeClr val="tx2"/>
                </a:solidFill>
              </a:rPr>
              <a:t>Paweł </a:t>
            </a:r>
            <a:br>
              <a:rPr lang="pl-PL" sz="3600" b="1" dirty="0" smtClean="0">
                <a:solidFill>
                  <a:schemeClr val="tx2"/>
                </a:solidFill>
              </a:rPr>
            </a:br>
            <a:r>
              <a:rPr lang="pl-PL" sz="3600" b="1" dirty="0" smtClean="0">
                <a:solidFill>
                  <a:schemeClr val="tx2"/>
                </a:solidFill>
              </a:rPr>
              <a:t>Rzemieniecki</a:t>
            </a:r>
            <a:r>
              <a:rPr lang="pl-PL" sz="28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/>
            </a:r>
            <a:br>
              <a:rPr lang="pl-PL" sz="28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endParaRPr lang="en-US" dirty="0" smtClean="0"/>
          </a:p>
          <a:p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4364182" y="990600"/>
            <a:ext cx="4800600" cy="2954655"/>
          </a:xfrm>
          <a:prstGeom prst="rect">
            <a:avLst/>
          </a:prstGeom>
          <a:noFill/>
        </p:spPr>
        <p:txBody>
          <a:bodyPr wrap="square" lIns="91440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pl-PL" sz="3600" b="1" dirty="0" smtClean="0">
                <a:solidFill>
                  <a:schemeClr val="tx2"/>
                </a:solidFill>
              </a:rPr>
              <a:t>Wiktor </a:t>
            </a:r>
            <a:br>
              <a:rPr lang="pl-PL" sz="3600" b="1" dirty="0" smtClean="0">
                <a:solidFill>
                  <a:schemeClr val="tx2"/>
                </a:solidFill>
              </a:rPr>
            </a:br>
            <a:r>
              <a:rPr lang="pl-PL" sz="3600" b="1" dirty="0" smtClean="0">
                <a:solidFill>
                  <a:schemeClr val="tx2"/>
                </a:solidFill>
              </a:rPr>
              <a:t>Jakubiuk</a:t>
            </a:r>
            <a:r>
              <a:rPr lang="pl-PL" sz="28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/>
            </a:r>
            <a:br>
              <a:rPr lang="pl-PL" sz="28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endParaRPr lang="pl-PL" sz="2800" b="1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0" y="2865566"/>
            <a:ext cx="4800600" cy="738664"/>
          </a:xfrm>
          <a:prstGeom prst="rect">
            <a:avLst/>
          </a:prstGeom>
          <a:noFill/>
        </p:spPr>
        <p:txBody>
          <a:bodyPr wrap="square" lIns="91440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pl-PL" sz="28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O1 </a:t>
            </a:r>
            <a:r>
              <a:rPr lang="pl-PL" sz="28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2007 </a:t>
            </a:r>
            <a:r>
              <a:rPr lang="pl-PL" sz="28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- </a:t>
            </a:r>
            <a:r>
              <a:rPr lang="pl-PL" sz="28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2008</a:t>
            </a:r>
            <a:endParaRPr lang="pl-PL" sz="28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-2" y="3774489"/>
            <a:ext cx="4800600" cy="954107"/>
          </a:xfrm>
          <a:prstGeom prst="rect">
            <a:avLst/>
          </a:prstGeom>
          <a:noFill/>
        </p:spPr>
        <p:txBody>
          <a:bodyPr wrap="square" lIns="91440" rtlCol="0">
            <a:spAutoFit/>
          </a:bodyPr>
          <a:lstStyle/>
          <a:p>
            <a:pPr algn="ctr"/>
            <a:r>
              <a:rPr lang="pl-PL" sz="28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Stonyhurst College</a:t>
            </a:r>
            <a:br>
              <a:rPr lang="pl-PL" sz="28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pl-PL" sz="28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2008 – 2010</a:t>
            </a:r>
            <a:endParaRPr lang="pl-PL" sz="28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0" y="5151566"/>
            <a:ext cx="4800600" cy="954107"/>
          </a:xfrm>
          <a:prstGeom prst="rect">
            <a:avLst/>
          </a:prstGeom>
          <a:noFill/>
        </p:spPr>
        <p:txBody>
          <a:bodyPr wrap="square" lIns="91440" rtlCol="0">
            <a:spAutoFit/>
          </a:bodyPr>
          <a:lstStyle/>
          <a:p>
            <a:pPr algn="ctr"/>
            <a:r>
              <a:rPr lang="pl-PL" sz="28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University of </a:t>
            </a:r>
            <a:r>
              <a:rPr lang="pl-PL" sz="28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Cambridge 2010 - 2013 </a:t>
            </a:r>
            <a:endParaRPr lang="en-US" sz="28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364182" y="2861385"/>
            <a:ext cx="4800600" cy="658835"/>
          </a:xfrm>
          <a:prstGeom prst="rect">
            <a:avLst/>
          </a:prstGeom>
          <a:noFill/>
        </p:spPr>
        <p:txBody>
          <a:bodyPr wrap="square" lIns="91440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pl-PL" sz="28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O1 </a:t>
            </a:r>
            <a:r>
              <a:rPr lang="pl-PL" sz="28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2006 - 2007</a:t>
            </a:r>
            <a:endParaRPr lang="pl-PL" sz="28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4364182" y="3837533"/>
            <a:ext cx="4800600" cy="954107"/>
          </a:xfrm>
          <a:prstGeom prst="rect">
            <a:avLst/>
          </a:prstGeom>
          <a:noFill/>
        </p:spPr>
        <p:txBody>
          <a:bodyPr wrap="square" lIns="91440" rtlCol="0">
            <a:spAutoFit/>
          </a:bodyPr>
          <a:lstStyle/>
          <a:p>
            <a:pPr algn="ctr"/>
            <a:r>
              <a:rPr lang="pl-PL" sz="28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Dulwich College</a:t>
            </a:r>
            <a:br>
              <a:rPr lang="pl-PL" sz="28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pl-PL" sz="28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2007 -</a:t>
            </a:r>
            <a:r>
              <a:rPr lang="pl-PL" sz="28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pl-PL" sz="28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2009</a:t>
            </a:r>
            <a:endParaRPr lang="pl-PL" sz="28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4364182" y="5170721"/>
            <a:ext cx="4800600" cy="523220"/>
          </a:xfrm>
          <a:prstGeom prst="rect">
            <a:avLst/>
          </a:prstGeom>
          <a:noFill/>
        </p:spPr>
        <p:txBody>
          <a:bodyPr wrap="square" lIns="91440" rtlCol="0">
            <a:spAutoFit/>
          </a:bodyPr>
          <a:lstStyle/>
          <a:p>
            <a:pPr algn="ctr"/>
            <a:r>
              <a:rPr lang="pl-PL" sz="28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MIT  2009 - 2013 </a:t>
            </a:r>
            <a:endParaRPr lang="en-US" sz="28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90720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 bwMode="auto">
          <a:xfrm>
            <a:off x="-41565" y="0"/>
            <a:ext cx="9144000" cy="9767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13" rIns="0" bIns="45713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marL="548640"/>
            <a:r>
              <a:rPr lang="en-US" sz="4000" dirty="0" smtClean="0"/>
              <a:t>* </a:t>
            </a:r>
            <a:r>
              <a:rPr lang="en-US" sz="5400" dirty="0" smtClean="0"/>
              <a:t>The Admissions Process</a:t>
            </a:r>
            <a:endParaRPr lang="en-US" sz="5400" dirty="0"/>
          </a:p>
        </p:txBody>
      </p:sp>
      <p:sp>
        <p:nvSpPr>
          <p:cNvPr id="3" name="Text Box 3"/>
          <p:cNvSpPr txBox="1">
            <a:spLocks noChangeArrowheads="1"/>
          </p:cNvSpPr>
          <p:nvPr/>
        </p:nvSpPr>
        <p:spPr bwMode="auto">
          <a:xfrm>
            <a:off x="1046163" y="1371600"/>
            <a:ext cx="7051675" cy="4832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r>
              <a:rPr lang="en-US" sz="2800"/>
              <a:t>Decision on whether to make an offer based on;</a:t>
            </a:r>
          </a:p>
          <a:p>
            <a:endParaRPr lang="en-US" sz="2800"/>
          </a:p>
          <a:p>
            <a:r>
              <a:rPr lang="en-US" sz="2800"/>
              <a:t>	(i) UCAS application form </a:t>
            </a:r>
          </a:p>
          <a:p>
            <a:endParaRPr lang="en-US" sz="2800"/>
          </a:p>
          <a:p>
            <a:r>
              <a:rPr lang="en-US" sz="2800"/>
              <a:t>	(ii) Cambridge questionnaire</a:t>
            </a:r>
          </a:p>
          <a:p>
            <a:endParaRPr lang="en-US" sz="2800"/>
          </a:p>
          <a:p>
            <a:r>
              <a:rPr lang="en-US" sz="2800"/>
              <a:t>	(iii) Teachers reference</a:t>
            </a:r>
          </a:p>
          <a:p>
            <a:endParaRPr lang="en-US" sz="2800"/>
          </a:p>
          <a:p>
            <a:r>
              <a:rPr lang="en-US" sz="2800"/>
              <a:t>	(iv) Performance in any test</a:t>
            </a:r>
          </a:p>
          <a:p>
            <a:endParaRPr lang="en-US" sz="2800"/>
          </a:p>
          <a:p>
            <a:r>
              <a:rPr lang="en-US" sz="2800"/>
              <a:t>	(v) Interview</a:t>
            </a:r>
          </a:p>
        </p:txBody>
      </p:sp>
    </p:spTree>
    <p:extLst>
      <p:ext uri="{BB962C8B-B14F-4D97-AF65-F5344CB8AC3E}">
        <p14:creationId xmlns:p14="http://schemas.microsoft.com/office/powerpoint/2010/main" val="7225932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 bwMode="auto">
          <a:xfrm>
            <a:off x="-41565" y="0"/>
            <a:ext cx="9144000" cy="9767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13" rIns="0" bIns="45713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marL="548640"/>
            <a:r>
              <a:rPr lang="en-US" sz="4000" dirty="0" smtClean="0"/>
              <a:t>* </a:t>
            </a:r>
            <a:r>
              <a:rPr lang="en-US" sz="5400" dirty="0" smtClean="0"/>
              <a:t>Tests</a:t>
            </a:r>
            <a:endParaRPr lang="en-US" sz="5400" dirty="0"/>
          </a:p>
        </p:txBody>
      </p:sp>
      <p:sp>
        <p:nvSpPr>
          <p:cNvPr id="3" name="Text Box 3"/>
          <p:cNvSpPr txBox="1">
            <a:spLocks noChangeArrowheads="1"/>
          </p:cNvSpPr>
          <p:nvPr/>
        </p:nvSpPr>
        <p:spPr bwMode="auto">
          <a:xfrm>
            <a:off x="457200" y="1295400"/>
            <a:ext cx="8229600" cy="464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r>
              <a:rPr lang="en-US" sz="2800"/>
              <a:t>Before the interview Arts applicants will have to;</a:t>
            </a:r>
          </a:p>
          <a:p>
            <a:r>
              <a:rPr lang="en-US" sz="2800"/>
              <a:t>	</a:t>
            </a:r>
          </a:p>
          <a:p>
            <a:r>
              <a:rPr lang="en-US" sz="2800"/>
              <a:t>(i) Submit written work for History, Geography, PPE, English or Land Economy</a:t>
            </a:r>
          </a:p>
          <a:p>
            <a:endParaRPr lang="en-US" sz="2800"/>
          </a:p>
          <a:p>
            <a:r>
              <a:rPr lang="en-US" sz="2800"/>
              <a:t>(ii) English and Theology set a short written test</a:t>
            </a:r>
          </a:p>
          <a:p>
            <a:endParaRPr lang="en-US" sz="2800"/>
          </a:p>
          <a:p>
            <a:r>
              <a:rPr lang="en-US" sz="2800"/>
              <a:t>(iii) Take a Thinking Skills Test</a:t>
            </a:r>
            <a:r>
              <a:rPr lang="pl-PL" sz="2800"/>
              <a:t> (TSA)</a:t>
            </a:r>
            <a:r>
              <a:rPr lang="en-US" sz="2800"/>
              <a:t> for Economics</a:t>
            </a:r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25932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 bwMode="auto">
          <a:xfrm>
            <a:off x="-41565" y="0"/>
            <a:ext cx="9144000" cy="9767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13" rIns="0" bIns="45713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marL="548640"/>
            <a:r>
              <a:rPr lang="en-US" sz="4000" dirty="0" smtClean="0"/>
              <a:t>* </a:t>
            </a:r>
            <a:r>
              <a:rPr lang="en-US" sz="5400" dirty="0" smtClean="0"/>
              <a:t>Tests</a:t>
            </a:r>
            <a:endParaRPr lang="en-US" sz="5400" dirty="0"/>
          </a:p>
        </p:txBody>
      </p:sp>
      <p:sp>
        <p:nvSpPr>
          <p:cNvPr id="3" name="Text Box 1027"/>
          <p:cNvSpPr txBox="1">
            <a:spLocks noChangeArrowheads="1"/>
          </p:cNvSpPr>
          <p:nvPr/>
        </p:nvSpPr>
        <p:spPr bwMode="auto">
          <a:xfrm>
            <a:off x="457200" y="1447800"/>
            <a:ext cx="8229600" cy="464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r>
              <a:rPr lang="en-US" sz="2800"/>
              <a:t>Before the interview Science applicants will have to;</a:t>
            </a:r>
          </a:p>
          <a:p>
            <a:r>
              <a:rPr lang="en-US" sz="2800"/>
              <a:t>	</a:t>
            </a:r>
          </a:p>
          <a:p>
            <a:r>
              <a:rPr lang="en-US" sz="2800"/>
              <a:t>(i) Take the BMAT test for Medicine or Vet. Med.</a:t>
            </a:r>
          </a:p>
          <a:p>
            <a:endParaRPr lang="en-US" sz="2800"/>
          </a:p>
          <a:p>
            <a:r>
              <a:rPr lang="en-US" sz="2800"/>
              <a:t>(ii) Take a Thinking Skills Test </a:t>
            </a:r>
            <a:r>
              <a:rPr lang="pl-PL" sz="2800"/>
              <a:t>(TSA) </a:t>
            </a:r>
            <a:r>
              <a:rPr lang="en-US" sz="2800"/>
              <a:t>for Comp. Sci.</a:t>
            </a:r>
          </a:p>
          <a:p>
            <a:endParaRPr lang="en-US" sz="2800"/>
          </a:p>
          <a:p>
            <a:r>
              <a:rPr lang="en-US" sz="2800"/>
              <a:t>(iii) Take a written test for Engineering</a:t>
            </a:r>
          </a:p>
          <a:p>
            <a:endParaRPr lang="en-US" sz="2800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25932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 bwMode="auto">
          <a:xfrm>
            <a:off x="-41565" y="0"/>
            <a:ext cx="9144000" cy="9767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13" rIns="0" bIns="45713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marL="548640"/>
            <a:r>
              <a:rPr lang="en-US" sz="4000" dirty="0" smtClean="0"/>
              <a:t>* </a:t>
            </a:r>
            <a:r>
              <a:rPr lang="en-US" sz="5400" dirty="0" smtClean="0"/>
              <a:t>Interviews</a:t>
            </a:r>
            <a:endParaRPr lang="en-US" sz="5400" dirty="0"/>
          </a:p>
        </p:txBody>
      </p:sp>
      <p:sp>
        <p:nvSpPr>
          <p:cNvPr id="3" name="Text Box 3"/>
          <p:cNvSpPr txBox="1">
            <a:spLocks noChangeArrowheads="1"/>
          </p:cNvSpPr>
          <p:nvPr/>
        </p:nvSpPr>
        <p:spPr bwMode="auto">
          <a:xfrm>
            <a:off x="428625" y="1658938"/>
            <a:ext cx="8286750" cy="3540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>
              <a:buFontTx/>
              <a:buChar char="•"/>
            </a:pPr>
            <a:r>
              <a:rPr lang="en-US" sz="2800"/>
              <a:t> In 2009, &gt; 90% of applicants to Fitz were interviewed</a:t>
            </a:r>
          </a:p>
          <a:p>
            <a:pPr>
              <a:buFontTx/>
              <a:buChar char="•"/>
            </a:pPr>
            <a:endParaRPr lang="en-US" sz="2800"/>
          </a:p>
          <a:p>
            <a:pPr>
              <a:buFontTx/>
              <a:buChar char="•"/>
            </a:pPr>
            <a:r>
              <a:rPr lang="en-US" sz="2800"/>
              <a:t> Interviews are an important part of the decision making process </a:t>
            </a:r>
          </a:p>
          <a:p>
            <a:pPr>
              <a:buFontTx/>
              <a:buChar char="•"/>
            </a:pPr>
            <a:endParaRPr lang="en-US" sz="2800"/>
          </a:p>
          <a:p>
            <a:pPr>
              <a:buFontTx/>
              <a:buChar char="•"/>
            </a:pPr>
            <a:r>
              <a:rPr lang="en-US" sz="2800"/>
              <a:t> Purpose is to help identify academic potential</a:t>
            </a:r>
          </a:p>
          <a:p>
            <a:pPr>
              <a:buFontTx/>
              <a:buChar char="•"/>
            </a:pPr>
            <a:endParaRPr lang="en-US" sz="2800"/>
          </a:p>
          <a:p>
            <a:pPr>
              <a:buFontTx/>
              <a:buChar char="•"/>
            </a:pPr>
            <a:r>
              <a:rPr lang="en-US" sz="2800"/>
              <a:t> Can only do this by putting candidates at their eas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94099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 bwMode="auto">
          <a:xfrm>
            <a:off x="-41565" y="0"/>
            <a:ext cx="9144000" cy="9767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13" rIns="0" bIns="45713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marL="548640"/>
            <a:r>
              <a:rPr lang="en-US" sz="4000" dirty="0" smtClean="0"/>
              <a:t>* </a:t>
            </a:r>
            <a:r>
              <a:rPr lang="en-US" sz="5400" dirty="0" smtClean="0"/>
              <a:t>Interviews</a:t>
            </a:r>
            <a:endParaRPr lang="en-US" sz="5400" dirty="0"/>
          </a:p>
        </p:txBody>
      </p:sp>
      <p:sp>
        <p:nvSpPr>
          <p:cNvPr id="3" name="Text Box 3"/>
          <p:cNvSpPr txBox="1">
            <a:spLocks noChangeArrowheads="1"/>
          </p:cNvSpPr>
          <p:nvPr/>
        </p:nvSpPr>
        <p:spPr bwMode="auto">
          <a:xfrm>
            <a:off x="266700" y="1371600"/>
            <a:ext cx="8610600" cy="4727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>
              <a:buFontTx/>
              <a:buChar char="•"/>
            </a:pPr>
            <a:r>
              <a:rPr lang="en-US" sz="2800"/>
              <a:t> Every candidate receives two interviews at Fitz</a:t>
            </a:r>
          </a:p>
          <a:p>
            <a:pPr>
              <a:buFontTx/>
              <a:buChar char="•"/>
            </a:pPr>
            <a:endParaRPr lang="en-US" sz="2800"/>
          </a:p>
          <a:p>
            <a:r>
              <a:rPr lang="en-US" sz="2800"/>
              <a:t>	 -	both technical for science subjects + </a:t>
            </a:r>
          </a:p>
          <a:p>
            <a:r>
              <a:rPr lang="en-US" sz="2800"/>
              <a:t>		Economics</a:t>
            </a:r>
          </a:p>
          <a:p>
            <a:pPr lvl="2"/>
            <a:r>
              <a:rPr lang="en-US" sz="2800"/>
              <a:t> - 	one technical and one more general for arts 		and humanity subjects </a:t>
            </a:r>
          </a:p>
          <a:p>
            <a:pPr>
              <a:buFontTx/>
              <a:buChar char="•"/>
            </a:pPr>
            <a:endParaRPr lang="en-US" sz="2800"/>
          </a:p>
          <a:p>
            <a:pPr>
              <a:buFontTx/>
              <a:buChar char="•"/>
            </a:pPr>
            <a:r>
              <a:rPr lang="en-US" sz="2800"/>
              <a:t> Assess your approach to problem solving, to think logically, ability to reason and to form and present a coherent argument</a:t>
            </a:r>
          </a:p>
          <a:p>
            <a:pPr>
              <a:buFontTx/>
              <a:buChar char="•"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94099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 bwMode="auto">
          <a:xfrm>
            <a:off x="-41565" y="0"/>
            <a:ext cx="9144000" cy="9767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13" rIns="0" bIns="45713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marL="548640"/>
            <a:r>
              <a:rPr lang="en-US" sz="4000" dirty="0" smtClean="0"/>
              <a:t>* </a:t>
            </a:r>
            <a:r>
              <a:rPr lang="en-US" sz="5400" dirty="0" smtClean="0"/>
              <a:t>Interviews</a:t>
            </a:r>
            <a:endParaRPr lang="en-US" sz="5400" dirty="0"/>
          </a:p>
        </p:txBody>
      </p:sp>
      <p:sp>
        <p:nvSpPr>
          <p:cNvPr id="3" name="Text Box 3"/>
          <p:cNvSpPr txBox="1">
            <a:spLocks noChangeArrowheads="1"/>
          </p:cNvSpPr>
          <p:nvPr/>
        </p:nvSpPr>
        <p:spPr bwMode="auto">
          <a:xfrm>
            <a:off x="419100" y="1371600"/>
            <a:ext cx="8305800" cy="4603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>
              <a:buFontTx/>
              <a:buChar char="•"/>
            </a:pPr>
            <a:r>
              <a:rPr lang="en-US" sz="2800"/>
              <a:t> Science + Economics interviews will involve using paper to do sums and sketch graphs!</a:t>
            </a:r>
            <a:endParaRPr lang="en-US"/>
          </a:p>
          <a:p>
            <a:pPr>
              <a:buFontTx/>
              <a:buChar char="•"/>
            </a:pPr>
            <a:endParaRPr lang="en-US"/>
          </a:p>
          <a:p>
            <a:pPr>
              <a:buFontTx/>
              <a:buChar char="•"/>
            </a:pPr>
            <a:r>
              <a:rPr lang="en-US" sz="2800"/>
              <a:t> Arts and humanity interviews are more discussion based</a:t>
            </a:r>
          </a:p>
          <a:p>
            <a:pPr>
              <a:buFontTx/>
              <a:buChar char="•"/>
            </a:pPr>
            <a:endParaRPr lang="en-US" sz="2800"/>
          </a:p>
          <a:p>
            <a:pPr>
              <a:buFontTx/>
              <a:buChar char="•"/>
            </a:pPr>
            <a:r>
              <a:rPr lang="en-US" sz="2800"/>
              <a:t> Interviews are not a regurgitation of A-level</a:t>
            </a:r>
          </a:p>
          <a:p>
            <a:pPr>
              <a:buFontTx/>
              <a:buChar char="•"/>
            </a:pPr>
            <a:endParaRPr lang="en-US" sz="2800"/>
          </a:p>
          <a:p>
            <a:pPr>
              <a:buFontTx/>
              <a:buChar char="•"/>
            </a:pPr>
            <a:r>
              <a:rPr lang="en-US" sz="2800"/>
              <a:t> Looking for people who can think on their feet</a:t>
            </a:r>
            <a:endParaRPr lang="en-US"/>
          </a:p>
          <a:p>
            <a:pPr>
              <a:buFontTx/>
              <a:buChar char="•"/>
            </a:pPr>
            <a:endParaRPr lang="en-US"/>
          </a:p>
          <a:p>
            <a:pPr>
              <a:buFontTx/>
              <a:buChar char="•"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94099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 bwMode="auto">
          <a:xfrm>
            <a:off x="-41565" y="0"/>
            <a:ext cx="9144000" cy="9767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13" rIns="0" bIns="45713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marL="548640"/>
            <a:r>
              <a:rPr lang="en-US" sz="4000" dirty="0" smtClean="0"/>
              <a:t>* </a:t>
            </a:r>
            <a:r>
              <a:rPr lang="en-US" sz="5400" dirty="0" smtClean="0"/>
              <a:t>Interviews</a:t>
            </a:r>
            <a:endParaRPr lang="en-US" sz="5400" dirty="0"/>
          </a:p>
        </p:txBody>
      </p:sp>
      <p:sp>
        <p:nvSpPr>
          <p:cNvPr id="3" name="Text Box 4"/>
          <p:cNvSpPr txBox="1">
            <a:spLocks noChangeArrowheads="1"/>
          </p:cNvSpPr>
          <p:nvPr/>
        </p:nvSpPr>
        <p:spPr bwMode="auto">
          <a:xfrm>
            <a:off x="906462" y="1295400"/>
            <a:ext cx="7331075" cy="4789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>
              <a:buFontTx/>
              <a:buChar char="•"/>
            </a:pPr>
            <a:r>
              <a:rPr lang="en-US" sz="2800"/>
              <a:t> Expect to be asked about your interest in your chosen subject</a:t>
            </a:r>
          </a:p>
          <a:p>
            <a:pPr>
              <a:buFontTx/>
              <a:buChar char="•"/>
            </a:pPr>
            <a:endParaRPr lang="en-US" sz="2800"/>
          </a:p>
          <a:p>
            <a:pPr>
              <a:buFontTx/>
              <a:buChar char="•"/>
            </a:pPr>
            <a:r>
              <a:rPr lang="en-US" sz="2800"/>
              <a:t> Expect to be asked about current affairs relevant to your subject</a:t>
            </a:r>
          </a:p>
          <a:p>
            <a:pPr>
              <a:buFontTx/>
              <a:buChar char="•"/>
            </a:pPr>
            <a:endParaRPr lang="en-US" sz="2800"/>
          </a:p>
          <a:p>
            <a:pPr>
              <a:buFontTx/>
              <a:buChar char="•"/>
            </a:pPr>
            <a:r>
              <a:rPr lang="en-US" sz="2800"/>
              <a:t> Not a learning process</a:t>
            </a:r>
          </a:p>
          <a:p>
            <a:pPr>
              <a:buFontTx/>
              <a:buChar char="•"/>
            </a:pPr>
            <a:endParaRPr lang="en-US" sz="2800"/>
          </a:p>
          <a:p>
            <a:pPr>
              <a:buFontTx/>
              <a:buChar char="•"/>
            </a:pPr>
            <a:r>
              <a:rPr lang="en-US" sz="2800"/>
              <a:t> Don’t expect to get everything right!!</a:t>
            </a:r>
          </a:p>
          <a:p>
            <a:endParaRPr lang="en-US" sz="2800"/>
          </a:p>
          <a:p>
            <a:endParaRPr lang="en-US" sz="2800"/>
          </a:p>
        </p:txBody>
      </p:sp>
    </p:spTree>
    <p:extLst>
      <p:ext uri="{BB962C8B-B14F-4D97-AF65-F5344CB8AC3E}">
        <p14:creationId xmlns:p14="http://schemas.microsoft.com/office/powerpoint/2010/main" val="36494099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 bwMode="auto">
          <a:xfrm>
            <a:off x="-41565" y="0"/>
            <a:ext cx="9144000" cy="9767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13" rIns="0" bIns="45713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marL="548640"/>
            <a:r>
              <a:rPr lang="en-US" sz="4000" dirty="0" smtClean="0"/>
              <a:t>* </a:t>
            </a:r>
            <a:r>
              <a:rPr lang="en-US" sz="5400" dirty="0" smtClean="0"/>
              <a:t>Interviews</a:t>
            </a:r>
            <a:endParaRPr lang="en-US" sz="5400" dirty="0"/>
          </a:p>
        </p:txBody>
      </p:sp>
      <p:sp>
        <p:nvSpPr>
          <p:cNvPr id="3" name="Text Box 3"/>
          <p:cNvSpPr txBox="1">
            <a:spLocks noChangeArrowheads="1"/>
          </p:cNvSpPr>
          <p:nvPr/>
        </p:nvSpPr>
        <p:spPr bwMode="auto">
          <a:xfrm>
            <a:off x="982662" y="1278731"/>
            <a:ext cx="7178675" cy="4300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r>
              <a:rPr lang="en-US" sz="2800"/>
              <a:t>After the interview;</a:t>
            </a:r>
          </a:p>
          <a:p>
            <a:endParaRPr lang="en-US" sz="2800"/>
          </a:p>
          <a:p>
            <a:pPr>
              <a:buFontTx/>
              <a:buChar char="•"/>
            </a:pPr>
            <a:r>
              <a:rPr lang="en-US" sz="2800"/>
              <a:t> Admissions Tutor and Director of Studies rank candidates in order of academic potential only</a:t>
            </a:r>
          </a:p>
          <a:p>
            <a:pPr>
              <a:buFontTx/>
              <a:buChar char="•"/>
            </a:pPr>
            <a:endParaRPr lang="en-US" sz="2800"/>
          </a:p>
          <a:p>
            <a:pPr>
              <a:buFontTx/>
              <a:buChar char="•"/>
            </a:pPr>
            <a:r>
              <a:rPr lang="en-US" sz="2800"/>
              <a:t> Offers go to the students at the top of the list</a:t>
            </a:r>
          </a:p>
          <a:p>
            <a:pPr>
              <a:buFontTx/>
              <a:buChar char="•"/>
            </a:pPr>
            <a:endParaRPr lang="en-US" sz="2800"/>
          </a:p>
          <a:p>
            <a:pPr>
              <a:buFontTx/>
              <a:buChar char="•"/>
            </a:pPr>
            <a:r>
              <a:rPr lang="en-US" sz="2800"/>
              <a:t> Borderline cases are discussed in detail</a:t>
            </a:r>
          </a:p>
          <a:p>
            <a:pPr>
              <a:buFontTx/>
              <a:buChar char="•"/>
            </a:pPr>
            <a:endParaRPr lang="en-US" sz="2800"/>
          </a:p>
          <a:p>
            <a:pPr>
              <a:buFontTx/>
              <a:buChar char="•"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78598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 bwMode="auto">
          <a:xfrm>
            <a:off x="-41565" y="0"/>
            <a:ext cx="9144000" cy="9767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13" rIns="0" bIns="45713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marL="548640"/>
            <a:r>
              <a:rPr lang="en-US" sz="4000" dirty="0" smtClean="0"/>
              <a:t>* </a:t>
            </a:r>
            <a:r>
              <a:rPr lang="en-US" sz="5400" dirty="0" smtClean="0"/>
              <a:t>Preparation</a:t>
            </a:r>
            <a:endParaRPr lang="en-US" sz="5400" dirty="0"/>
          </a:p>
        </p:txBody>
      </p:sp>
      <p:sp>
        <p:nvSpPr>
          <p:cNvPr id="3" name="Text Box 3"/>
          <p:cNvSpPr txBox="1">
            <a:spLocks noChangeArrowheads="1"/>
          </p:cNvSpPr>
          <p:nvPr/>
        </p:nvSpPr>
        <p:spPr bwMode="auto">
          <a:xfrm>
            <a:off x="830263" y="1247775"/>
            <a:ext cx="7483475" cy="4362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>
              <a:buFontTx/>
              <a:buChar char="•"/>
            </a:pPr>
            <a:r>
              <a:rPr lang="en-US" sz="2800"/>
              <a:t> Read the non-tabloid press for relevant articles</a:t>
            </a:r>
          </a:p>
          <a:p>
            <a:pPr>
              <a:buFontTx/>
              <a:buChar char="•"/>
            </a:pPr>
            <a:endParaRPr lang="en-US" sz="2800"/>
          </a:p>
          <a:p>
            <a:pPr>
              <a:buFontTx/>
              <a:buChar char="•"/>
            </a:pPr>
            <a:r>
              <a:rPr lang="en-US" sz="2800"/>
              <a:t> Science students read New Scientist or Scientific American</a:t>
            </a:r>
          </a:p>
          <a:p>
            <a:pPr>
              <a:buFontTx/>
              <a:buChar char="•"/>
            </a:pPr>
            <a:endParaRPr lang="en-US" sz="2800"/>
          </a:p>
          <a:p>
            <a:pPr>
              <a:buFontTx/>
              <a:buChar char="•"/>
            </a:pPr>
            <a:r>
              <a:rPr lang="en-US" sz="2800"/>
              <a:t> Don’t exaggerate your interests!</a:t>
            </a:r>
          </a:p>
          <a:p>
            <a:pPr>
              <a:buFontTx/>
              <a:buChar char="•"/>
            </a:pPr>
            <a:endParaRPr lang="en-US" sz="2800"/>
          </a:p>
          <a:p>
            <a:pPr>
              <a:buFontTx/>
              <a:buChar char="•"/>
            </a:pPr>
            <a:r>
              <a:rPr lang="en-US" sz="2800"/>
              <a:t> Take advice, but be yourself</a:t>
            </a:r>
          </a:p>
          <a:p>
            <a:pPr>
              <a:buFontTx/>
              <a:buChar char="•"/>
            </a:pPr>
            <a:endParaRPr lang="en-US" sz="2800"/>
          </a:p>
          <a:p>
            <a:pPr>
              <a:buFontTx/>
              <a:buChar char="•"/>
            </a:pPr>
            <a:r>
              <a:rPr lang="en-US" sz="2800"/>
              <a:t> Dress comfortably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78598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 bwMode="auto">
          <a:xfrm>
            <a:off x="-41565" y="0"/>
            <a:ext cx="9144000" cy="9767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13" rIns="0" bIns="45713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marL="548640"/>
            <a:r>
              <a:rPr lang="en-US" sz="4000" dirty="0" smtClean="0"/>
              <a:t>* </a:t>
            </a:r>
            <a:r>
              <a:rPr lang="en-US" sz="5400" dirty="0" smtClean="0"/>
              <a:t>Standard Offers</a:t>
            </a:r>
            <a:endParaRPr lang="en-US" sz="5400" dirty="0"/>
          </a:p>
        </p:txBody>
      </p:sp>
      <p:sp>
        <p:nvSpPr>
          <p:cNvPr id="3" name="Text Box 3"/>
          <p:cNvSpPr txBox="1">
            <a:spLocks noChangeArrowheads="1"/>
          </p:cNvSpPr>
          <p:nvPr/>
        </p:nvSpPr>
        <p:spPr bwMode="auto">
          <a:xfrm>
            <a:off x="604044" y="1443831"/>
            <a:ext cx="7845353" cy="31085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r>
              <a:rPr lang="en-US" sz="2800" dirty="0" smtClean="0"/>
              <a:t>90% z </a:t>
            </a:r>
            <a:r>
              <a:rPr lang="en-US" sz="2800" dirty="0" err="1" smtClean="0"/>
              <a:t>przedmiot</a:t>
            </a:r>
            <a:r>
              <a:rPr lang="pl-PL" sz="2800" dirty="0" smtClean="0"/>
              <a:t>ów rozszerzonych</a:t>
            </a:r>
          </a:p>
          <a:p>
            <a:endParaRPr lang="pl-PL" sz="2800" dirty="0" smtClean="0"/>
          </a:p>
          <a:p>
            <a:r>
              <a:rPr lang="pl-PL" sz="2800" dirty="0" smtClean="0"/>
              <a:t>IELTS wynik 7.0 lub CAE na A</a:t>
            </a:r>
          </a:p>
          <a:p>
            <a:endParaRPr lang="pl-PL" sz="2800" dirty="0"/>
          </a:p>
          <a:p>
            <a:endParaRPr lang="pl-PL" sz="2800" dirty="0" smtClean="0"/>
          </a:p>
          <a:p>
            <a:endParaRPr lang="en-US" sz="2800" dirty="0"/>
          </a:p>
          <a:p>
            <a:r>
              <a:rPr lang="en-US" sz="2800" dirty="0"/>
              <a:t>Make 15% more offers than we have places available</a:t>
            </a:r>
          </a:p>
        </p:txBody>
      </p:sp>
    </p:spTree>
    <p:extLst>
      <p:ext uri="{BB962C8B-B14F-4D97-AF65-F5344CB8AC3E}">
        <p14:creationId xmlns:p14="http://schemas.microsoft.com/office/powerpoint/2010/main" val="27378598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 bwMode="auto">
          <a:xfrm>
            <a:off x="-41565" y="0"/>
            <a:ext cx="9144000" cy="9767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13" rIns="0" bIns="45713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marL="548640"/>
            <a:r>
              <a:rPr lang="en-US" sz="4000" dirty="0" smtClean="0"/>
              <a:t>* </a:t>
            </a:r>
            <a:r>
              <a:rPr lang="en-US" sz="5400" dirty="0" smtClean="0"/>
              <a:t>Plan</a:t>
            </a:r>
            <a:endParaRPr lang="en-US" sz="5400" dirty="0"/>
          </a:p>
        </p:txBody>
      </p:sp>
      <p:sp>
        <p:nvSpPr>
          <p:cNvPr id="7" name="TextBox 6"/>
          <p:cNvSpPr txBox="1"/>
          <p:nvPr/>
        </p:nvSpPr>
        <p:spPr>
          <a:xfrm>
            <a:off x="-1" y="1600200"/>
            <a:ext cx="9116291" cy="4801314"/>
          </a:xfrm>
          <a:prstGeom prst="rect">
            <a:avLst/>
          </a:prstGeom>
          <a:noFill/>
        </p:spPr>
        <p:txBody>
          <a:bodyPr wrap="square" lIns="731520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3600" b="1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Wprowadzenie</a:t>
            </a:r>
            <a:endParaRPr lang="en-US" sz="3600" b="1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>
              <a:lnSpc>
                <a:spcPct val="150000"/>
              </a:lnSpc>
            </a:pPr>
            <a:r>
              <a:rPr lang="en-US" sz="3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United World Colleges (UWC)</a:t>
            </a:r>
          </a:p>
          <a:p>
            <a:pPr>
              <a:lnSpc>
                <a:spcPct val="150000"/>
              </a:lnSpc>
            </a:pPr>
            <a:r>
              <a:rPr lang="en-US" sz="3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UK</a:t>
            </a:r>
          </a:p>
          <a:p>
            <a:pPr>
              <a:lnSpc>
                <a:spcPct val="150000"/>
              </a:lnSpc>
            </a:pPr>
            <a:r>
              <a:rPr lang="en-US" sz="3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USA</a:t>
            </a:r>
          </a:p>
          <a:p>
            <a:pPr>
              <a:lnSpc>
                <a:spcPct val="150000"/>
              </a:lnSpc>
            </a:pPr>
            <a:r>
              <a:rPr lang="en-US" sz="3600" b="1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Pytania</a:t>
            </a:r>
            <a:endParaRPr lang="en-US" sz="3600" b="1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endParaRPr lang="en-US" dirty="0" smtClean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17823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 bwMode="auto">
          <a:xfrm>
            <a:off x="-41565" y="0"/>
            <a:ext cx="9144000" cy="9767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13" rIns="0" bIns="45713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marL="548640"/>
            <a:r>
              <a:rPr lang="en-US" sz="4000" dirty="0" smtClean="0"/>
              <a:t>* </a:t>
            </a:r>
            <a:r>
              <a:rPr lang="en-US" sz="5400" dirty="0" smtClean="0"/>
              <a:t>Other Universities</a:t>
            </a:r>
            <a:endParaRPr lang="en-US" sz="5400" dirty="0"/>
          </a:p>
        </p:txBody>
      </p:sp>
      <p:sp>
        <p:nvSpPr>
          <p:cNvPr id="3" name="Text Box 3"/>
          <p:cNvSpPr txBox="1">
            <a:spLocks noChangeArrowheads="1"/>
          </p:cNvSpPr>
          <p:nvPr/>
        </p:nvSpPr>
        <p:spPr bwMode="auto">
          <a:xfrm>
            <a:off x="982662" y="1443831"/>
            <a:ext cx="7178675" cy="397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>
              <a:buFontTx/>
              <a:buChar char="•"/>
            </a:pPr>
            <a:r>
              <a:rPr lang="en-US" sz="2800"/>
              <a:t> </a:t>
            </a:r>
            <a:r>
              <a:rPr lang="pl-PL" sz="2800"/>
              <a:t>Oxford (humanities)</a:t>
            </a:r>
          </a:p>
          <a:p>
            <a:pPr>
              <a:buFontTx/>
              <a:buChar char="•"/>
            </a:pPr>
            <a:r>
              <a:rPr lang="pl-PL" sz="2800"/>
              <a:t> LSE (economics)</a:t>
            </a:r>
          </a:p>
          <a:p>
            <a:pPr>
              <a:buFontTx/>
              <a:buChar char="•"/>
            </a:pPr>
            <a:r>
              <a:rPr lang="pl-PL" sz="2800"/>
              <a:t> Imperial (sciences)</a:t>
            </a:r>
          </a:p>
          <a:p>
            <a:pPr>
              <a:buFontTx/>
              <a:buChar char="•"/>
            </a:pPr>
            <a:r>
              <a:rPr lang="pl-PL" sz="2800"/>
              <a:t> Durham (engineering)</a:t>
            </a:r>
          </a:p>
          <a:p>
            <a:pPr>
              <a:buFontTx/>
              <a:buChar char="•"/>
            </a:pPr>
            <a:r>
              <a:rPr lang="pl-PL" sz="2800"/>
              <a:t> Warwick</a:t>
            </a:r>
          </a:p>
          <a:p>
            <a:pPr>
              <a:buFontTx/>
              <a:buChar char="•"/>
            </a:pPr>
            <a:r>
              <a:rPr lang="pl-PL" sz="2800"/>
              <a:t> St Andrews</a:t>
            </a:r>
          </a:p>
          <a:p>
            <a:pPr>
              <a:buFontTx/>
              <a:buChar char="•"/>
            </a:pPr>
            <a:r>
              <a:rPr lang="pl-PL" sz="2800"/>
              <a:t> UCL</a:t>
            </a:r>
          </a:p>
          <a:p>
            <a:pPr>
              <a:buFontTx/>
              <a:buChar char="•"/>
            </a:pPr>
            <a:r>
              <a:rPr lang="pl-PL" sz="2800"/>
              <a:t> Lancaster</a:t>
            </a:r>
          </a:p>
          <a:p>
            <a:pPr>
              <a:buFontTx/>
              <a:buChar char="•"/>
            </a:pPr>
            <a:r>
              <a:rPr lang="pl-PL" sz="2800"/>
              <a:t> Edinburgh (medicine)</a:t>
            </a:r>
          </a:p>
        </p:txBody>
      </p:sp>
    </p:spTree>
    <p:extLst>
      <p:ext uri="{BB962C8B-B14F-4D97-AF65-F5344CB8AC3E}">
        <p14:creationId xmlns:p14="http://schemas.microsoft.com/office/powerpoint/2010/main" val="27378598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 bwMode="auto">
          <a:xfrm>
            <a:off x="-41565" y="0"/>
            <a:ext cx="9144000" cy="9767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13" rIns="0" bIns="45713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marL="548640"/>
            <a:r>
              <a:rPr lang="en-US" sz="4000" dirty="0" smtClean="0"/>
              <a:t>* </a:t>
            </a:r>
            <a:r>
              <a:rPr lang="pl-PL" sz="5400" dirty="0" smtClean="0"/>
              <a:t>Studia w USA</a:t>
            </a:r>
            <a:endParaRPr lang="en-US" sz="5400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000" y="1447800"/>
            <a:ext cx="7620000" cy="4733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47296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 bwMode="auto">
          <a:xfrm>
            <a:off x="-41565" y="0"/>
            <a:ext cx="9144000" cy="9767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13" rIns="0" bIns="45713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marL="548640"/>
            <a:r>
              <a:rPr lang="en-US" sz="4000" dirty="0" smtClean="0"/>
              <a:t>* </a:t>
            </a:r>
            <a:r>
              <a:rPr lang="pl-PL" sz="5400" dirty="0" smtClean="0"/>
              <a:t>Dlaczego USA?</a:t>
            </a:r>
            <a:endParaRPr lang="en-US" sz="5400" dirty="0"/>
          </a:p>
        </p:txBody>
      </p:sp>
      <p:sp>
        <p:nvSpPr>
          <p:cNvPr id="3" name="TextBox 2"/>
          <p:cNvSpPr txBox="1"/>
          <p:nvPr/>
        </p:nvSpPr>
        <p:spPr>
          <a:xfrm>
            <a:off x="-6927" y="1288473"/>
            <a:ext cx="9116291" cy="5816977"/>
          </a:xfrm>
          <a:prstGeom prst="rect">
            <a:avLst/>
          </a:prstGeom>
          <a:noFill/>
        </p:spPr>
        <p:txBody>
          <a:bodyPr wrap="square" lIns="731520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l-PL" sz="28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Najlepsza kadra (MIT – 76 laureatów Nobla!)</a:t>
            </a:r>
            <a:br>
              <a:rPr lang="pl-PL" sz="28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pl-PL" sz="28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Wysoki poziom nauczania</a:t>
            </a:r>
          </a:p>
          <a:p>
            <a:pPr>
              <a:lnSpc>
                <a:spcPct val="150000"/>
              </a:lnSpc>
            </a:pPr>
            <a:r>
              <a:rPr lang="pl-PL" sz="28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Świetne laboratoria, badania</a:t>
            </a:r>
          </a:p>
          <a:p>
            <a:pPr>
              <a:lnSpc>
                <a:spcPct val="150000"/>
              </a:lnSpc>
            </a:pPr>
            <a:r>
              <a:rPr lang="pl-PL" sz="28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Studenci z całego świata</a:t>
            </a:r>
          </a:p>
          <a:p>
            <a:pPr>
              <a:lnSpc>
                <a:spcPct val="150000"/>
              </a:lnSpc>
            </a:pPr>
            <a:r>
              <a:rPr lang="pl-PL" sz="28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Sport i zajęcia pozaszkolne</a:t>
            </a:r>
          </a:p>
          <a:p>
            <a:pPr>
              <a:lnSpc>
                <a:spcPct val="150000"/>
              </a:lnSpc>
            </a:pPr>
            <a:r>
              <a:rPr lang="pl-PL" sz="28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Możliwość zmiany kierunku studiów</a:t>
            </a:r>
          </a:p>
          <a:p>
            <a:pPr>
              <a:lnSpc>
                <a:spcPct val="150000"/>
              </a:lnSpc>
            </a:pPr>
            <a:r>
              <a:rPr lang="pl-PL" sz="28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Świetne oferty pracy</a:t>
            </a:r>
            <a:endParaRPr lang="en-US" sz="2800" b="1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>
              <a:lnSpc>
                <a:spcPct val="150000"/>
              </a:lnSpc>
            </a:pPr>
            <a:r>
              <a:rPr lang="pl-PL" sz="28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Możliwość podróży</a:t>
            </a:r>
          </a:p>
          <a:p>
            <a:endParaRPr lang="en-US" dirty="0" smtClean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37596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 bwMode="auto">
          <a:xfrm>
            <a:off x="-41565" y="0"/>
            <a:ext cx="9144000" cy="9767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13" rIns="0" bIns="45713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marL="548640"/>
            <a:r>
              <a:rPr lang="en-US" sz="4000" dirty="0" smtClean="0"/>
              <a:t>* </a:t>
            </a:r>
            <a:r>
              <a:rPr lang="pl-PL" sz="5400" dirty="0" smtClean="0"/>
              <a:t>Struktura studiów</a:t>
            </a:r>
            <a:endParaRPr lang="en-US" sz="5400" dirty="0"/>
          </a:p>
        </p:txBody>
      </p:sp>
      <p:sp>
        <p:nvSpPr>
          <p:cNvPr id="3" name="Rounded Rectangle 2"/>
          <p:cNvSpPr/>
          <p:nvPr/>
        </p:nvSpPr>
        <p:spPr bwMode="auto">
          <a:xfrm>
            <a:off x="1447800" y="1295400"/>
            <a:ext cx="4419600" cy="1219200"/>
          </a:xfrm>
          <a:prstGeom prst="roundRect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pl-PL" sz="2800" b="1" dirty="0">
                <a:solidFill>
                  <a:schemeClr val="tx2"/>
                </a:solidFill>
              </a:rPr>
              <a:t>Bachelor of Science/Arts </a:t>
            </a:r>
            <a:r>
              <a:rPr lang="pl-PL" sz="2800" b="1" dirty="0" smtClean="0">
                <a:solidFill>
                  <a:schemeClr val="tx2"/>
                </a:solidFill>
              </a:rPr>
              <a:t/>
            </a:r>
            <a:br>
              <a:rPr lang="pl-PL" sz="2800" b="1" dirty="0" smtClean="0">
                <a:solidFill>
                  <a:schemeClr val="tx2"/>
                </a:solidFill>
              </a:rPr>
            </a:br>
            <a:r>
              <a:rPr lang="pl-PL" sz="2800" b="1" dirty="0" smtClean="0">
                <a:solidFill>
                  <a:schemeClr val="tx2"/>
                </a:solidFill>
              </a:rPr>
              <a:t>(</a:t>
            </a:r>
            <a:r>
              <a:rPr lang="pl-PL" sz="2800" b="1" dirty="0">
                <a:solidFill>
                  <a:schemeClr val="tx2"/>
                </a:solidFill>
              </a:rPr>
              <a:t>B.S/B.A) </a:t>
            </a:r>
            <a:endParaRPr lang="en-US" sz="2800" b="1" dirty="0">
              <a:solidFill>
                <a:schemeClr val="tx2"/>
              </a:solidFill>
            </a:endParaRP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7" name="Rounded Rectangle 6"/>
          <p:cNvSpPr/>
          <p:nvPr/>
        </p:nvSpPr>
        <p:spPr bwMode="auto">
          <a:xfrm>
            <a:off x="6096000" y="1295400"/>
            <a:ext cx="2057400" cy="1219200"/>
          </a:xfrm>
          <a:prstGeom prst="roundRect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l-PL" sz="3600" b="1" i="0" u="none" strike="noStrike" cap="none" normalizeH="0" baseline="0" dirty="0" smtClean="0">
                <a:ln>
                  <a:noFill/>
                </a:ln>
                <a:solidFill>
                  <a:srgbClr val="FF0000"/>
                </a:solidFill>
                <a:effectLst/>
                <a:latin typeface="Arial" charset="0"/>
                <a:cs typeface="Arial" charset="0"/>
              </a:rPr>
              <a:t>4 lata</a:t>
            </a:r>
            <a:endParaRPr kumimoji="0" lang="en-US" sz="3600" b="1" i="0" u="none" strike="noStrike" cap="none" normalizeH="0" baseline="0" dirty="0" smtClean="0">
              <a:ln>
                <a:noFill/>
              </a:ln>
              <a:solidFill>
                <a:srgbClr val="FF0000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8" name="Rounded Rectangle 7"/>
          <p:cNvSpPr/>
          <p:nvPr/>
        </p:nvSpPr>
        <p:spPr bwMode="auto">
          <a:xfrm>
            <a:off x="228600" y="3032412"/>
            <a:ext cx="3505200" cy="938646"/>
          </a:xfrm>
          <a:prstGeom prst="roundRect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pl-PL" sz="2400" b="1" dirty="0" smtClean="0">
                <a:solidFill>
                  <a:schemeClr val="tx2"/>
                </a:solidFill>
              </a:rPr>
              <a:t>Master of Science/Arts </a:t>
            </a:r>
            <a:br>
              <a:rPr lang="pl-PL" sz="2400" b="1" dirty="0" smtClean="0">
                <a:solidFill>
                  <a:schemeClr val="tx2"/>
                </a:solidFill>
              </a:rPr>
            </a:br>
            <a:r>
              <a:rPr lang="pl-PL" sz="2400" b="1" dirty="0" smtClean="0">
                <a:solidFill>
                  <a:schemeClr val="tx2"/>
                </a:solidFill>
              </a:rPr>
              <a:t>(M.S/M.A</a:t>
            </a:r>
            <a:r>
              <a:rPr lang="pl-PL" sz="2400" b="1" dirty="0">
                <a:solidFill>
                  <a:schemeClr val="tx2"/>
                </a:solidFill>
              </a:rPr>
              <a:t>) </a:t>
            </a:r>
            <a:endParaRPr lang="en-US" sz="2400" b="1" dirty="0">
              <a:solidFill>
                <a:schemeClr val="tx2"/>
              </a:solidFill>
            </a:endParaRP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9" name="Rounded Rectangle 8"/>
          <p:cNvSpPr/>
          <p:nvPr/>
        </p:nvSpPr>
        <p:spPr bwMode="auto">
          <a:xfrm>
            <a:off x="34636" y="3702625"/>
            <a:ext cx="1295400" cy="793173"/>
          </a:xfrm>
          <a:prstGeom prst="roundRect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l-PL" sz="2400" b="1" i="0" u="none" strike="noStrike" cap="none" normalizeH="0" baseline="0" dirty="0" smtClean="0">
                <a:ln>
                  <a:noFill/>
                </a:ln>
                <a:solidFill>
                  <a:srgbClr val="FF0000"/>
                </a:solidFill>
                <a:effectLst/>
                <a:latin typeface="Arial" charset="0"/>
                <a:cs typeface="Arial" charset="0"/>
              </a:rPr>
              <a:t>+</a:t>
            </a:r>
            <a:r>
              <a:rPr kumimoji="0" lang="pl-PL" sz="2400" b="1" i="0" u="none" strike="noStrike" cap="none" normalizeH="0" dirty="0" smtClean="0">
                <a:ln>
                  <a:noFill/>
                </a:ln>
                <a:solidFill>
                  <a:srgbClr val="FF0000"/>
                </a:solidFill>
                <a:effectLst/>
                <a:latin typeface="Arial" charset="0"/>
                <a:cs typeface="Arial" charset="0"/>
              </a:rPr>
              <a:t> 2 lata</a:t>
            </a:r>
            <a:endParaRPr kumimoji="0" lang="en-US" sz="2400" b="1" i="0" u="none" strike="noStrike" cap="none" normalizeH="0" baseline="0" dirty="0" smtClean="0">
              <a:ln>
                <a:noFill/>
              </a:ln>
              <a:solidFill>
                <a:srgbClr val="FF0000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11" name="Rounded Rectangle 10"/>
          <p:cNvSpPr/>
          <p:nvPr/>
        </p:nvSpPr>
        <p:spPr bwMode="auto">
          <a:xfrm>
            <a:off x="3816925" y="3056654"/>
            <a:ext cx="1828800" cy="898816"/>
          </a:xfrm>
          <a:prstGeom prst="roundRect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pl-PL" sz="2400" b="1" dirty="0" smtClean="0">
                <a:solidFill>
                  <a:schemeClr val="tx2"/>
                </a:solidFill>
              </a:rPr>
              <a:t>M.B.A.</a:t>
            </a:r>
            <a:endParaRPr lang="en-US" sz="2400" b="1" dirty="0">
              <a:solidFill>
                <a:schemeClr val="tx2"/>
              </a:solidFill>
            </a:endParaRP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12" name="Rounded Rectangle 11"/>
          <p:cNvSpPr/>
          <p:nvPr/>
        </p:nvSpPr>
        <p:spPr bwMode="auto">
          <a:xfrm>
            <a:off x="4343398" y="3702627"/>
            <a:ext cx="1295400" cy="793172"/>
          </a:xfrm>
          <a:prstGeom prst="roundRect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l-PL" sz="2400" b="1" i="0" u="none" strike="noStrike" cap="none" normalizeH="0" baseline="0" dirty="0" smtClean="0">
                <a:ln>
                  <a:noFill/>
                </a:ln>
                <a:solidFill>
                  <a:srgbClr val="FF0000"/>
                </a:solidFill>
                <a:effectLst/>
                <a:latin typeface="Arial" charset="0"/>
                <a:cs typeface="Arial" charset="0"/>
              </a:rPr>
              <a:t>+</a:t>
            </a:r>
            <a:r>
              <a:rPr kumimoji="0" lang="pl-PL" sz="2400" b="1" i="0" u="none" strike="noStrike" cap="none" normalizeH="0" dirty="0" smtClean="0">
                <a:ln>
                  <a:noFill/>
                </a:ln>
                <a:solidFill>
                  <a:srgbClr val="FF0000"/>
                </a:solidFill>
                <a:effectLst/>
                <a:latin typeface="Arial" charset="0"/>
                <a:cs typeface="Arial" charset="0"/>
              </a:rPr>
              <a:t> 2 lata</a:t>
            </a:r>
            <a:endParaRPr kumimoji="0" lang="en-US" sz="2400" b="1" i="0" u="none" strike="noStrike" cap="none" normalizeH="0" baseline="0" dirty="0" smtClean="0">
              <a:ln>
                <a:noFill/>
              </a:ln>
              <a:solidFill>
                <a:srgbClr val="FF0000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13" name="Rounded Rectangle 12"/>
          <p:cNvSpPr/>
          <p:nvPr/>
        </p:nvSpPr>
        <p:spPr bwMode="auto">
          <a:xfrm>
            <a:off x="5787736" y="3073976"/>
            <a:ext cx="1371600" cy="881494"/>
          </a:xfrm>
          <a:prstGeom prst="roundRect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pl-PL" sz="2400" b="1" dirty="0" smtClean="0">
                <a:solidFill>
                  <a:schemeClr val="tx2"/>
                </a:solidFill>
              </a:rPr>
              <a:t>J.D.</a:t>
            </a:r>
            <a:br>
              <a:rPr lang="pl-PL" sz="2400" b="1" dirty="0" smtClean="0">
                <a:solidFill>
                  <a:schemeClr val="tx2"/>
                </a:solidFill>
              </a:rPr>
            </a:br>
            <a:r>
              <a:rPr lang="pl-PL" sz="2400" b="1" dirty="0" smtClean="0">
                <a:solidFill>
                  <a:schemeClr val="tx2"/>
                </a:solidFill>
              </a:rPr>
              <a:t>(prawo)</a:t>
            </a:r>
            <a:endParaRPr lang="en-US" sz="2400" b="1" dirty="0">
              <a:solidFill>
                <a:schemeClr val="tx2"/>
              </a:solidFill>
            </a:endParaRP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14" name="Rounded Rectangle 13"/>
          <p:cNvSpPr/>
          <p:nvPr/>
        </p:nvSpPr>
        <p:spPr bwMode="auto">
          <a:xfrm>
            <a:off x="7304809" y="3044533"/>
            <a:ext cx="1371600" cy="881494"/>
          </a:xfrm>
          <a:prstGeom prst="roundRect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pl-PL" sz="2400" b="1" dirty="0" smtClean="0">
                <a:solidFill>
                  <a:schemeClr val="tx2"/>
                </a:solidFill>
              </a:rPr>
              <a:t>M.D.</a:t>
            </a:r>
            <a:br>
              <a:rPr lang="pl-PL" sz="2400" b="1" dirty="0" smtClean="0">
                <a:solidFill>
                  <a:schemeClr val="tx2"/>
                </a:solidFill>
              </a:rPr>
            </a:br>
            <a:r>
              <a:rPr lang="pl-PL" sz="2400" b="1" dirty="0" smtClean="0">
                <a:solidFill>
                  <a:schemeClr val="tx2"/>
                </a:solidFill>
              </a:rPr>
              <a:t>(med.)</a:t>
            </a:r>
            <a:endParaRPr lang="en-US" sz="2400" b="1" dirty="0">
              <a:solidFill>
                <a:schemeClr val="tx2"/>
              </a:solidFill>
            </a:endParaRP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15" name="Rounded Rectangle 14"/>
          <p:cNvSpPr/>
          <p:nvPr/>
        </p:nvSpPr>
        <p:spPr bwMode="auto">
          <a:xfrm>
            <a:off x="381000" y="5029200"/>
            <a:ext cx="4876800" cy="938646"/>
          </a:xfrm>
          <a:prstGeom prst="roundRect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pl-PL" sz="2400" b="1" dirty="0" smtClean="0">
                <a:solidFill>
                  <a:schemeClr val="tx2"/>
                </a:solidFill>
              </a:rPr>
              <a:t>Doctorate of Philosophy/Science</a:t>
            </a:r>
            <a:br>
              <a:rPr lang="pl-PL" sz="2400" b="1" dirty="0" smtClean="0">
                <a:solidFill>
                  <a:schemeClr val="tx2"/>
                </a:solidFill>
              </a:rPr>
            </a:br>
            <a:r>
              <a:rPr lang="pl-PL" sz="2400" b="1" dirty="0" smtClean="0">
                <a:solidFill>
                  <a:schemeClr val="tx2"/>
                </a:solidFill>
              </a:rPr>
              <a:t>(PhD/DSc) </a:t>
            </a:r>
            <a:endParaRPr lang="en-US" sz="2400" b="1" dirty="0">
              <a:solidFill>
                <a:schemeClr val="tx2"/>
              </a:solidFill>
            </a:endParaRP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16" name="Rounded Rectangle 15"/>
          <p:cNvSpPr/>
          <p:nvPr/>
        </p:nvSpPr>
        <p:spPr bwMode="auto">
          <a:xfrm>
            <a:off x="3695698" y="5715000"/>
            <a:ext cx="1562102" cy="762000"/>
          </a:xfrm>
          <a:prstGeom prst="roundRect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l-PL" sz="2400" b="1" i="0" u="none" strike="noStrike" cap="none" normalizeH="0" baseline="0" dirty="0" smtClean="0">
                <a:ln>
                  <a:noFill/>
                </a:ln>
                <a:solidFill>
                  <a:srgbClr val="FF0000"/>
                </a:solidFill>
                <a:effectLst/>
                <a:latin typeface="Arial" charset="0"/>
                <a:cs typeface="Arial" charset="0"/>
              </a:rPr>
              <a:t>+</a:t>
            </a:r>
            <a:r>
              <a:rPr kumimoji="0" lang="pl-PL" sz="2400" b="1" i="0" u="none" strike="noStrike" cap="none" normalizeH="0" dirty="0" smtClean="0">
                <a:ln>
                  <a:noFill/>
                </a:ln>
                <a:solidFill>
                  <a:srgbClr val="FF0000"/>
                </a:solidFill>
                <a:effectLst/>
                <a:latin typeface="Arial" charset="0"/>
                <a:cs typeface="Arial" charset="0"/>
              </a:rPr>
              <a:t> 4 - ... lat</a:t>
            </a:r>
            <a:endParaRPr kumimoji="0" lang="en-US" sz="2400" b="1" i="0" u="none" strike="noStrike" cap="none" normalizeH="0" baseline="0" dirty="0" smtClean="0">
              <a:ln>
                <a:noFill/>
              </a:ln>
              <a:solidFill>
                <a:srgbClr val="FF0000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17" name="Rounded Rectangle 16"/>
          <p:cNvSpPr/>
          <p:nvPr/>
        </p:nvSpPr>
        <p:spPr bwMode="auto">
          <a:xfrm>
            <a:off x="6009409" y="3855027"/>
            <a:ext cx="1295400" cy="793172"/>
          </a:xfrm>
          <a:prstGeom prst="roundRect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l-PL" sz="2400" b="1" i="0" u="none" strike="noStrike" cap="none" normalizeH="0" baseline="0" dirty="0" smtClean="0">
                <a:ln>
                  <a:noFill/>
                </a:ln>
                <a:solidFill>
                  <a:srgbClr val="FF0000"/>
                </a:solidFill>
                <a:effectLst/>
                <a:latin typeface="Arial" charset="0"/>
                <a:cs typeface="Arial" charset="0"/>
              </a:rPr>
              <a:t>+</a:t>
            </a:r>
            <a:r>
              <a:rPr kumimoji="0" lang="pl-PL" sz="2400" b="1" i="0" u="none" strike="noStrike" cap="none" normalizeH="0" dirty="0" smtClean="0">
                <a:ln>
                  <a:noFill/>
                </a:ln>
                <a:solidFill>
                  <a:srgbClr val="FF0000"/>
                </a:solidFill>
                <a:effectLst/>
                <a:latin typeface="Arial" charset="0"/>
                <a:cs typeface="Arial" charset="0"/>
              </a:rPr>
              <a:t> 3 lata</a:t>
            </a:r>
            <a:endParaRPr kumimoji="0" lang="en-US" sz="2400" b="1" i="0" u="none" strike="noStrike" cap="none" normalizeH="0" baseline="0" dirty="0" smtClean="0">
              <a:ln>
                <a:noFill/>
              </a:ln>
              <a:solidFill>
                <a:srgbClr val="FF0000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18" name="Rounded Rectangle 17"/>
          <p:cNvSpPr/>
          <p:nvPr/>
        </p:nvSpPr>
        <p:spPr bwMode="auto">
          <a:xfrm>
            <a:off x="7620000" y="3830781"/>
            <a:ext cx="1295400" cy="793172"/>
          </a:xfrm>
          <a:prstGeom prst="roundRect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l-PL" sz="2400" b="1" i="0" u="none" strike="noStrike" cap="none" normalizeH="0" baseline="0" dirty="0" smtClean="0">
                <a:ln>
                  <a:noFill/>
                </a:ln>
                <a:solidFill>
                  <a:srgbClr val="FF0000"/>
                </a:solidFill>
                <a:effectLst/>
                <a:latin typeface="Arial" charset="0"/>
                <a:cs typeface="Arial" charset="0"/>
              </a:rPr>
              <a:t>+</a:t>
            </a:r>
            <a:r>
              <a:rPr kumimoji="0" lang="pl-PL" sz="2400" b="1" i="0" u="none" strike="noStrike" cap="none" normalizeH="0" dirty="0" smtClean="0">
                <a:ln>
                  <a:noFill/>
                </a:ln>
                <a:solidFill>
                  <a:srgbClr val="FF0000"/>
                </a:solidFill>
                <a:effectLst/>
                <a:latin typeface="Arial" charset="0"/>
                <a:cs typeface="Arial" charset="0"/>
              </a:rPr>
              <a:t> 3 lata</a:t>
            </a:r>
            <a:endParaRPr kumimoji="0" lang="en-US" sz="2400" b="1" i="0" u="none" strike="noStrike" cap="none" normalizeH="0" baseline="0" dirty="0" smtClean="0">
              <a:ln>
                <a:noFill/>
              </a:ln>
              <a:solidFill>
                <a:srgbClr val="FF0000"/>
              </a:solidFill>
              <a:effectLst/>
              <a:latin typeface="Arial" charset="0"/>
              <a:cs typeface="Arial" charset="0"/>
            </a:endParaRPr>
          </a:p>
        </p:txBody>
      </p:sp>
      <p:cxnSp>
        <p:nvCxnSpPr>
          <p:cNvPr id="20" name="Straight Arrow Connector 19"/>
          <p:cNvCxnSpPr/>
          <p:nvPr/>
        </p:nvCxnSpPr>
        <p:spPr bwMode="auto">
          <a:xfrm flipH="1">
            <a:off x="2590800" y="2514600"/>
            <a:ext cx="457200" cy="517812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arrow"/>
          </a:ln>
          <a:effectLst/>
        </p:spPr>
      </p:cxnSp>
      <p:cxnSp>
        <p:nvCxnSpPr>
          <p:cNvPr id="22" name="Straight Arrow Connector 21"/>
          <p:cNvCxnSpPr/>
          <p:nvPr/>
        </p:nvCxnSpPr>
        <p:spPr bwMode="auto">
          <a:xfrm>
            <a:off x="4114800" y="2514600"/>
            <a:ext cx="361949" cy="517812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arrow"/>
          </a:ln>
          <a:effectLst/>
        </p:spPr>
      </p:cxnSp>
      <p:cxnSp>
        <p:nvCxnSpPr>
          <p:cNvPr id="24" name="Straight Arrow Connector 23"/>
          <p:cNvCxnSpPr/>
          <p:nvPr/>
        </p:nvCxnSpPr>
        <p:spPr bwMode="auto">
          <a:xfrm>
            <a:off x="4731325" y="2514600"/>
            <a:ext cx="1364675" cy="517812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arrow"/>
          </a:ln>
          <a:effectLst/>
        </p:spPr>
      </p:cxnSp>
      <p:cxnSp>
        <p:nvCxnSpPr>
          <p:cNvPr id="26" name="Straight Arrow Connector 25"/>
          <p:cNvCxnSpPr/>
          <p:nvPr/>
        </p:nvCxnSpPr>
        <p:spPr bwMode="auto">
          <a:xfrm>
            <a:off x="5257800" y="2514600"/>
            <a:ext cx="2362200" cy="517812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arrow"/>
          </a:ln>
          <a:effectLst/>
        </p:spPr>
      </p:cxnSp>
      <p:cxnSp>
        <p:nvCxnSpPr>
          <p:cNvPr id="28" name="Straight Arrow Connector 27"/>
          <p:cNvCxnSpPr>
            <a:endCxn id="15" idx="0"/>
          </p:cNvCxnSpPr>
          <p:nvPr/>
        </p:nvCxnSpPr>
        <p:spPr bwMode="auto">
          <a:xfrm>
            <a:off x="2590800" y="3955470"/>
            <a:ext cx="228600" cy="107373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arrow"/>
          </a:ln>
          <a:effectLst/>
        </p:spPr>
      </p:cxnSp>
    </p:spTree>
    <p:extLst>
      <p:ext uri="{BB962C8B-B14F-4D97-AF65-F5344CB8AC3E}">
        <p14:creationId xmlns:p14="http://schemas.microsoft.com/office/powerpoint/2010/main" val="22799447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 bwMode="auto">
          <a:xfrm>
            <a:off x="-41565" y="0"/>
            <a:ext cx="9144000" cy="9767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13" rIns="0" bIns="45713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marL="548640"/>
            <a:r>
              <a:rPr lang="en-US" sz="4000" dirty="0" smtClean="0"/>
              <a:t>* </a:t>
            </a:r>
            <a:r>
              <a:rPr lang="pl-PL" sz="5400" dirty="0" smtClean="0"/>
              <a:t>Wymagania</a:t>
            </a:r>
            <a:endParaRPr lang="en-US" sz="5400" dirty="0"/>
          </a:p>
        </p:txBody>
      </p:sp>
      <p:sp>
        <p:nvSpPr>
          <p:cNvPr id="3" name="TextBox 2"/>
          <p:cNvSpPr txBox="1"/>
          <p:nvPr/>
        </p:nvSpPr>
        <p:spPr>
          <a:xfrm>
            <a:off x="-6927" y="1288473"/>
            <a:ext cx="9116291" cy="5170646"/>
          </a:xfrm>
          <a:prstGeom prst="rect">
            <a:avLst/>
          </a:prstGeom>
          <a:noFill/>
        </p:spPr>
        <p:txBody>
          <a:bodyPr wrap="square" lIns="731520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l-PL" sz="28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SAT Reasoning Test („SAT I”) – </a:t>
            </a:r>
            <a:r>
              <a:rPr lang="pl-PL" sz="28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	</a:t>
            </a:r>
            <a:r>
              <a:rPr lang="pl-PL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czytanie, pisanie, matematyka</a:t>
            </a:r>
          </a:p>
          <a:p>
            <a:pPr>
              <a:lnSpc>
                <a:spcPct val="150000"/>
              </a:lnSpc>
            </a:pPr>
            <a:r>
              <a:rPr lang="pl-PL" sz="28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0</a:t>
            </a:r>
            <a:r>
              <a:rPr lang="pl-PL" sz="28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– 3 SAT Subject Test </a:t>
            </a:r>
            <a:r>
              <a:rPr lang="pl-PL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(„SAT II” – jeden z Literature, U.S. History, World History, Mathematics I/II, Biology, Chemistry, Physics, Chinese, French, German, Hebrew, Italian, Japanese, Korean, Spanish)</a:t>
            </a:r>
          </a:p>
          <a:p>
            <a:pPr>
              <a:lnSpc>
                <a:spcPct val="150000"/>
              </a:lnSpc>
            </a:pPr>
            <a:r>
              <a:rPr lang="pl-PL" sz="28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TOEFL (min. 90/120)</a:t>
            </a:r>
          </a:p>
          <a:p>
            <a:pPr>
              <a:lnSpc>
                <a:spcPct val="150000"/>
              </a:lnSpc>
            </a:pPr>
            <a:r>
              <a:rPr lang="pl-PL" sz="28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1 - 3 </a:t>
            </a:r>
            <a:r>
              <a:rPr lang="pl-PL" sz="2800" b="1" dirty="0" smtClean="0">
                <a:solidFill>
                  <a:srgbClr val="FF0000"/>
                </a:solidFill>
              </a:rPr>
              <a:t>Eseje!</a:t>
            </a:r>
            <a:endParaRPr lang="pl-PL" sz="2800" b="1" dirty="0">
              <a:solidFill>
                <a:srgbClr val="FF0000"/>
              </a:solidFill>
            </a:endParaRPr>
          </a:p>
          <a:p>
            <a:pPr>
              <a:lnSpc>
                <a:spcPct val="150000"/>
              </a:lnSpc>
            </a:pPr>
            <a:r>
              <a:rPr lang="pl-PL" sz="28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1 – 2 rekomendacje nauczycieli</a:t>
            </a:r>
          </a:p>
          <a:p>
            <a:pPr>
              <a:lnSpc>
                <a:spcPct val="150000"/>
              </a:lnSpc>
            </a:pPr>
            <a:r>
              <a:rPr lang="pl-PL" sz="2800" b="1" dirty="0" smtClean="0">
                <a:solidFill>
                  <a:srgbClr val="FF0000"/>
                </a:solidFill>
              </a:rPr>
              <a:t>Extracurriculars</a:t>
            </a:r>
            <a:r>
              <a:rPr lang="pl-PL" sz="28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</a:p>
          <a:p>
            <a:pPr>
              <a:lnSpc>
                <a:spcPct val="150000"/>
              </a:lnSpc>
            </a:pPr>
            <a:r>
              <a:rPr lang="pl-PL" sz="28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Dobre oceny</a:t>
            </a:r>
            <a:endParaRPr lang="en-US" dirty="0"/>
          </a:p>
        </p:txBody>
      </p:sp>
      <p:sp>
        <p:nvSpPr>
          <p:cNvPr id="2" name="TextBox 1"/>
          <p:cNvSpPr txBox="1"/>
          <p:nvPr/>
        </p:nvSpPr>
        <p:spPr>
          <a:xfrm rot="2194157">
            <a:off x="4989554" y="1235585"/>
            <a:ext cx="3810000" cy="39395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l-PL" sz="2800" b="1" dirty="0" smtClean="0">
                <a:solidFill>
                  <a:schemeClr val="tx2"/>
                </a:solidFill>
              </a:rPr>
              <a:t>IB</a:t>
            </a:r>
            <a:br>
              <a:rPr lang="pl-PL" sz="2800" b="1" dirty="0" smtClean="0">
                <a:solidFill>
                  <a:schemeClr val="tx2"/>
                </a:solidFill>
              </a:rPr>
            </a:br>
            <a:r>
              <a:rPr lang="pl-PL" sz="2800" b="1" dirty="0" smtClean="0">
                <a:solidFill>
                  <a:schemeClr val="tx2"/>
                </a:solidFill>
              </a:rPr>
              <a:t> (Międzynarodowa Matura)</a:t>
            </a:r>
            <a:r>
              <a:rPr lang="pl-PL" sz="28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/>
            </a:r>
            <a:br>
              <a:rPr lang="pl-PL" sz="28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pl-PL" sz="28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pl-PL" sz="13800" b="1" dirty="0" smtClean="0">
                <a:solidFill>
                  <a:srgbClr val="FF0000"/>
                </a:solidFill>
              </a:rPr>
              <a:t>NIE</a:t>
            </a:r>
            <a:r>
              <a:rPr lang="pl-PL" sz="28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pl-PL" sz="2800" b="1" dirty="0" smtClean="0">
                <a:solidFill>
                  <a:schemeClr val="tx2"/>
                </a:solidFill>
              </a:rPr>
              <a:t>jest wymagana!</a:t>
            </a:r>
            <a:endParaRPr lang="en-US" sz="2800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99447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 bwMode="auto">
          <a:xfrm>
            <a:off x="-41565" y="0"/>
            <a:ext cx="9144000" cy="9767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13" rIns="0" bIns="45713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marL="548640"/>
            <a:r>
              <a:rPr lang="en-US" sz="4000" dirty="0" smtClean="0"/>
              <a:t>* </a:t>
            </a:r>
            <a:r>
              <a:rPr lang="pl-PL" sz="5400" dirty="0" smtClean="0"/>
              <a:t>Kiedy zacząć?</a:t>
            </a:r>
            <a:endParaRPr lang="en-US" sz="5400" dirty="0"/>
          </a:p>
        </p:txBody>
      </p:sp>
      <p:sp>
        <p:nvSpPr>
          <p:cNvPr id="3" name="TextBox 2"/>
          <p:cNvSpPr txBox="1"/>
          <p:nvPr/>
        </p:nvSpPr>
        <p:spPr>
          <a:xfrm>
            <a:off x="0" y="1905000"/>
            <a:ext cx="9102435" cy="4431983"/>
          </a:xfrm>
          <a:prstGeom prst="rect">
            <a:avLst/>
          </a:prstGeom>
          <a:noFill/>
        </p:spPr>
        <p:txBody>
          <a:bodyPr wrap="square" lIns="91440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pl-PL" sz="9600" b="1" dirty="0" smtClean="0">
                <a:solidFill>
                  <a:srgbClr val="FF0000"/>
                </a:solidFill>
              </a:rPr>
              <a:t>WCZEŚNIE!</a:t>
            </a:r>
          </a:p>
          <a:p>
            <a:pPr algn="ctr">
              <a:lnSpc>
                <a:spcPct val="150000"/>
              </a:lnSpc>
            </a:pPr>
            <a:endParaRPr lang="pl-PL" sz="4000" b="1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algn="ctr">
              <a:lnSpc>
                <a:spcPct val="150000"/>
              </a:lnSpc>
            </a:pPr>
            <a:r>
              <a:rPr lang="pl-PL" sz="40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Najpóźniej koniec 2. klasy liceum!</a:t>
            </a:r>
            <a:endParaRPr lang="pl-PL" sz="3600" b="1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45297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 bwMode="auto">
          <a:xfrm>
            <a:off x="-41565" y="0"/>
            <a:ext cx="9144000" cy="9767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13" rIns="0" bIns="45713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marL="548640"/>
            <a:r>
              <a:rPr lang="en-US" sz="4000" dirty="0" smtClean="0"/>
              <a:t>* </a:t>
            </a:r>
            <a:r>
              <a:rPr lang="pl-PL" sz="5400" dirty="0" smtClean="0"/>
              <a:t>Kiedy zacząć?</a:t>
            </a:r>
            <a:endParaRPr lang="en-US" sz="5400" dirty="0"/>
          </a:p>
        </p:txBody>
      </p:sp>
      <p:sp>
        <p:nvSpPr>
          <p:cNvPr id="25" name="Freeform 24"/>
          <p:cNvSpPr/>
          <p:nvPr/>
        </p:nvSpPr>
        <p:spPr>
          <a:xfrm>
            <a:off x="2161275" y="1364039"/>
            <a:ext cx="7130160" cy="5404680"/>
          </a:xfrm>
          <a:custGeom>
            <a:avLst/>
            <a:gdLst>
              <a:gd name="f0" fmla="val 0"/>
              <a:gd name="f1" fmla="val 21600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l" t="t" r="r" b="b"/>
            <a:pathLst>
              <a:path w="21600" h="21600">
                <a:moveTo>
                  <a:pt x="f0" y="f0"/>
                </a:moveTo>
                <a:lnTo>
                  <a:pt x="f1" y="f0"/>
                </a:lnTo>
                <a:lnTo>
                  <a:pt x="f1" y="f1"/>
                </a:lnTo>
                <a:lnTo>
                  <a:pt x="f0" y="f1"/>
                </a:lnTo>
                <a:lnTo>
                  <a:pt x="f0" y="f0"/>
                </a:lnTo>
                <a:close/>
              </a:path>
            </a:pathLst>
          </a:custGeom>
          <a:noFill/>
          <a:ln w="9360">
            <a:solidFill>
              <a:srgbClr val="909090"/>
            </a:solidFill>
            <a:prstDash val="solid"/>
            <a:miter/>
          </a:ln>
        </p:spPr>
        <p:txBody>
          <a:bodyPr vert="horz" wrap="none" lIns="90000" tIns="46800" rIns="90000" bIns="46800" anchor="ctr" anchorCtr="0" compatLnSpc="0"/>
          <a:lstStyle/>
          <a:p>
            <a:pPr marL="0" marR="0" lvl="0" indent="0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endParaRPr lang="en-US" sz="1800" b="0" i="0" u="none" strike="noStrike" kern="1200">
              <a:ln>
                <a:noFill/>
              </a:ln>
              <a:latin typeface="Arial" pitchFamily="18"/>
              <a:ea typeface="Arial Unicode MS" pitchFamily="2"/>
              <a:cs typeface="Tahoma" pitchFamily="2"/>
            </a:endParaRPr>
          </a:p>
        </p:txBody>
      </p:sp>
      <p:sp>
        <p:nvSpPr>
          <p:cNvPr id="26" name="Straight Connector 25"/>
          <p:cNvSpPr/>
          <p:nvPr/>
        </p:nvSpPr>
        <p:spPr>
          <a:xfrm>
            <a:off x="6663435" y="1364039"/>
            <a:ext cx="0" cy="5405040"/>
          </a:xfrm>
          <a:prstGeom prst="line">
            <a:avLst/>
          </a:prstGeom>
          <a:noFill/>
          <a:ln w="38160">
            <a:solidFill>
              <a:srgbClr val="909090"/>
            </a:solidFill>
            <a:prstDash val="solid"/>
            <a:miter/>
          </a:ln>
        </p:spPr>
        <p:txBody>
          <a:bodyPr vert="horz" wrap="square" lIns="90000" tIns="46800" rIns="90000" bIns="46800" anchor="t" anchorCtr="0" compatLnSpc="0"/>
          <a:lstStyle/>
          <a:p>
            <a:pPr marL="0" marR="0" lvl="0" indent="0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endParaRPr lang="en-US" sz="1800" b="0" i="0" u="none" strike="noStrike" kern="1200">
              <a:ln>
                <a:noFill/>
              </a:ln>
              <a:latin typeface="Arial" pitchFamily="18"/>
              <a:ea typeface="Arial Unicode MS" pitchFamily="2"/>
              <a:cs typeface="Tahoma" pitchFamily="2"/>
            </a:endParaRPr>
          </a:p>
        </p:txBody>
      </p:sp>
      <p:sp>
        <p:nvSpPr>
          <p:cNvPr id="27" name="Freeform 26"/>
          <p:cNvSpPr/>
          <p:nvPr/>
        </p:nvSpPr>
        <p:spPr>
          <a:xfrm>
            <a:off x="520035" y="6271920"/>
            <a:ext cx="1535760" cy="480240"/>
          </a:xfrm>
          <a:custGeom>
            <a:avLst/>
            <a:gdLst>
              <a:gd name="f0" fmla="val 0"/>
              <a:gd name="f1" fmla="val 21600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l" t="t" r="r" b="b"/>
            <a:pathLst>
              <a:path w="21600" h="21600">
                <a:moveTo>
                  <a:pt x="f0" y="f0"/>
                </a:moveTo>
                <a:lnTo>
                  <a:pt x="f1" y="f0"/>
                </a:lnTo>
                <a:lnTo>
                  <a:pt x="f1" y="f1"/>
                </a:lnTo>
                <a:lnTo>
                  <a:pt x="f0" y="f1"/>
                </a:lnTo>
                <a:lnTo>
                  <a:pt x="f0" y="f0"/>
                </a:lnTo>
                <a:close/>
              </a:path>
            </a:pathLst>
          </a:custGeom>
          <a:noFill/>
          <a:ln>
            <a:noFill/>
            <a:prstDash val="solid"/>
          </a:ln>
        </p:spPr>
        <p:txBody>
          <a:bodyPr vert="horz" wrap="square" lIns="0" tIns="0" rIns="0" bIns="0" anchor="ctr" anchorCtr="0" compatLnSpc="0">
            <a:spAutoFit/>
          </a:bodyPr>
          <a:lstStyle/>
          <a:p>
            <a:pPr marL="0" marR="0" lvl="0" indent="0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pl-PL" sz="1400" b="1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Tahoma" pitchFamily="2"/>
              </a:rPr>
              <a:t>Rozpoczęcie studiów</a:t>
            </a:r>
          </a:p>
        </p:txBody>
      </p:sp>
      <p:sp>
        <p:nvSpPr>
          <p:cNvPr id="28" name="Freeform 27"/>
          <p:cNvSpPr/>
          <p:nvPr/>
        </p:nvSpPr>
        <p:spPr>
          <a:xfrm>
            <a:off x="95595" y="6306479"/>
            <a:ext cx="326520" cy="294480"/>
          </a:xfrm>
          <a:custGeom>
            <a:avLst/>
            <a:gdLst>
              <a:gd name="f0" fmla="val 10800000"/>
              <a:gd name="f1" fmla="val 5400000"/>
              <a:gd name="f2" fmla="val 180"/>
              <a:gd name="f3" fmla="val w"/>
              <a:gd name="f4" fmla="val h"/>
              <a:gd name="f5" fmla="*/ 5419351 1 1725033"/>
              <a:gd name="f6" fmla="*/ 10800 10800 1"/>
              <a:gd name="f7" fmla="+- 0 0 0"/>
              <a:gd name="f8" fmla="+- 0 0 360"/>
              <a:gd name="f9" fmla="val 10800"/>
              <a:gd name="f10" fmla="*/ f3 1 21600"/>
              <a:gd name="f11" fmla="*/ f4 1 21600"/>
              <a:gd name="f12" fmla="*/ 0 f5 1"/>
              <a:gd name="f13" fmla="*/ f7 f0 1"/>
              <a:gd name="f14" fmla="*/ f8 f0 1"/>
              <a:gd name="f15" fmla="*/ 3163 f10 1"/>
              <a:gd name="f16" fmla="*/ 18437 f10 1"/>
              <a:gd name="f17" fmla="*/ 18437 f11 1"/>
              <a:gd name="f18" fmla="*/ 3163 f11 1"/>
              <a:gd name="f19" fmla="*/ f12 1 f2"/>
              <a:gd name="f20" fmla="*/ f13 1 f2"/>
              <a:gd name="f21" fmla="*/ f14 1 f2"/>
              <a:gd name="f22" fmla="*/ 10800 f10 1"/>
              <a:gd name="f23" fmla="*/ 0 f11 1"/>
              <a:gd name="f24" fmla="*/ 0 f10 1"/>
              <a:gd name="f25" fmla="*/ 10800 f11 1"/>
              <a:gd name="f26" fmla="*/ 21600 f11 1"/>
              <a:gd name="f27" fmla="*/ 21600 f10 1"/>
              <a:gd name="f28" fmla="+- 0 0 f19"/>
              <a:gd name="f29" fmla="+- f20 0 f1"/>
              <a:gd name="f30" fmla="+- f21 0 f1"/>
              <a:gd name="f31" fmla="*/ f28 f0 1"/>
              <a:gd name="f32" fmla="+- f30 0 f29"/>
              <a:gd name="f33" fmla="*/ f31 1 f5"/>
              <a:gd name="f34" fmla="+- f33 0 f1"/>
              <a:gd name="f35" fmla="cos 1 f34"/>
              <a:gd name="f36" fmla="sin 1 f34"/>
              <a:gd name="f37" fmla="+- 0 0 f35"/>
              <a:gd name="f38" fmla="+- 0 0 f36"/>
              <a:gd name="f39" fmla="*/ 10800 f37 1"/>
              <a:gd name="f40" fmla="*/ 10800 f38 1"/>
              <a:gd name="f41" fmla="*/ f39 f39 1"/>
              <a:gd name="f42" fmla="*/ f40 f40 1"/>
              <a:gd name="f43" fmla="+- f41 f42 0"/>
              <a:gd name="f44" fmla="sqrt f43"/>
              <a:gd name="f45" fmla="*/ f6 1 f44"/>
              <a:gd name="f46" fmla="*/ f37 f45 1"/>
              <a:gd name="f47" fmla="*/ f38 f45 1"/>
              <a:gd name="f48" fmla="+- 10800 0 f46"/>
              <a:gd name="f49" fmla="+- 10800 0 f47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29">
                <a:pos x="f22" y="f23"/>
              </a:cxn>
              <a:cxn ang="f29">
                <a:pos x="f15" y="f18"/>
              </a:cxn>
              <a:cxn ang="f29">
                <a:pos x="f24" y="f25"/>
              </a:cxn>
              <a:cxn ang="f29">
                <a:pos x="f15" y="f17"/>
              </a:cxn>
              <a:cxn ang="f29">
                <a:pos x="f22" y="f26"/>
              </a:cxn>
              <a:cxn ang="f29">
                <a:pos x="f16" y="f17"/>
              </a:cxn>
              <a:cxn ang="f29">
                <a:pos x="f27" y="f25"/>
              </a:cxn>
              <a:cxn ang="f29">
                <a:pos x="f16" y="f18"/>
              </a:cxn>
            </a:cxnLst>
            <a:rect l="f15" t="f18" r="f16" b="f17"/>
            <a:pathLst>
              <a:path w="21600" h="21600">
                <a:moveTo>
                  <a:pt x="f48" y="f49"/>
                </a:moveTo>
                <a:arcTo wR="f9" hR="f9" stAng="f29" swAng="f32"/>
                <a:close/>
              </a:path>
            </a:pathLst>
          </a:custGeom>
          <a:gradFill>
            <a:gsLst>
              <a:gs pos="0">
                <a:srgbClr val="5E9EFF"/>
              </a:gs>
              <a:gs pos="39999">
                <a:srgbClr val="85C2FF"/>
              </a:gs>
              <a:gs pos="70000">
                <a:srgbClr val="C4D6EB"/>
              </a:gs>
              <a:gs pos="100000">
                <a:srgbClr val="FFEBFA"/>
              </a:gs>
            </a:gsLst>
            <a:lin ang="13500000" scaled="0"/>
          </a:gradFill>
          <a:ln w="9360">
            <a:solidFill>
              <a:srgbClr val="000000"/>
            </a:solidFill>
            <a:prstDash val="solid"/>
            <a:miter/>
          </a:ln>
        </p:spPr>
        <p:txBody>
          <a:bodyPr vert="horz" wrap="square" lIns="0" tIns="0" rIns="0" bIns="0" anchor="ctr" anchorCtr="1" compatLnSpc="0"/>
          <a:lstStyle/>
          <a:p>
            <a:pPr marL="0" marR="0" lvl="0" indent="0" algn="ctr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pl-PL" sz="1200" b="1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Tahoma" pitchFamily="2"/>
              </a:rPr>
              <a:t>7</a:t>
            </a:r>
          </a:p>
        </p:txBody>
      </p:sp>
      <p:sp>
        <p:nvSpPr>
          <p:cNvPr id="32" name="Freeform 31"/>
          <p:cNvSpPr/>
          <p:nvPr/>
        </p:nvSpPr>
        <p:spPr>
          <a:xfrm>
            <a:off x="2164515" y="1099439"/>
            <a:ext cx="367559" cy="205920"/>
          </a:xfrm>
          <a:custGeom>
            <a:avLst/>
            <a:gdLst>
              <a:gd name="f0" fmla="val 0"/>
              <a:gd name="f1" fmla="val 21600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l" t="t" r="r" b="b"/>
            <a:pathLst>
              <a:path w="21600" h="21600">
                <a:moveTo>
                  <a:pt x="f0" y="f0"/>
                </a:moveTo>
                <a:lnTo>
                  <a:pt x="f1" y="f0"/>
                </a:lnTo>
                <a:lnTo>
                  <a:pt x="f1" y="f1"/>
                </a:lnTo>
                <a:lnTo>
                  <a:pt x="f0" y="f1"/>
                </a:lnTo>
                <a:lnTo>
                  <a:pt x="f0" y="f0"/>
                </a:lnTo>
                <a:close/>
              </a:path>
            </a:pathLst>
          </a:custGeom>
          <a:noFill/>
          <a:ln>
            <a:noFill/>
            <a:prstDash val="solid"/>
          </a:ln>
        </p:spPr>
        <p:txBody>
          <a:bodyPr vert="horz" wrap="square" lIns="0" tIns="0" rIns="0" bIns="0" anchor="ctr" anchorCtr="0" compatLnSpc="0">
            <a:spAutoFit/>
          </a:bodyPr>
          <a:lstStyle/>
          <a:p>
            <a:pPr marL="0" marR="0" lvl="0" indent="0" algn="ctr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pl-PL" sz="1200" b="1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Tahoma" pitchFamily="2"/>
              </a:rPr>
              <a:t>I</a:t>
            </a:r>
          </a:p>
        </p:txBody>
      </p:sp>
      <p:sp>
        <p:nvSpPr>
          <p:cNvPr id="33" name="Freeform 32"/>
          <p:cNvSpPr/>
          <p:nvPr/>
        </p:nvSpPr>
        <p:spPr>
          <a:xfrm>
            <a:off x="2539635" y="1099439"/>
            <a:ext cx="367559" cy="205920"/>
          </a:xfrm>
          <a:custGeom>
            <a:avLst/>
            <a:gdLst>
              <a:gd name="f0" fmla="val 0"/>
              <a:gd name="f1" fmla="val 21600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l" t="t" r="r" b="b"/>
            <a:pathLst>
              <a:path w="21600" h="21600">
                <a:moveTo>
                  <a:pt x="f0" y="f0"/>
                </a:moveTo>
                <a:lnTo>
                  <a:pt x="f1" y="f0"/>
                </a:lnTo>
                <a:lnTo>
                  <a:pt x="f1" y="f1"/>
                </a:lnTo>
                <a:lnTo>
                  <a:pt x="f0" y="f1"/>
                </a:lnTo>
                <a:lnTo>
                  <a:pt x="f0" y="f0"/>
                </a:lnTo>
                <a:close/>
              </a:path>
            </a:pathLst>
          </a:custGeom>
          <a:noFill/>
          <a:ln>
            <a:noFill/>
            <a:prstDash val="solid"/>
          </a:ln>
        </p:spPr>
        <p:txBody>
          <a:bodyPr vert="horz" wrap="square" lIns="0" tIns="0" rIns="0" bIns="0" anchor="ctr" anchorCtr="0" compatLnSpc="0">
            <a:spAutoFit/>
          </a:bodyPr>
          <a:lstStyle/>
          <a:p>
            <a:pPr marL="0" marR="0" lvl="0" indent="0" algn="ctr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pl-PL" sz="1200" b="1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Tahoma" pitchFamily="2"/>
              </a:rPr>
              <a:t>II</a:t>
            </a:r>
          </a:p>
        </p:txBody>
      </p:sp>
      <p:sp>
        <p:nvSpPr>
          <p:cNvPr id="34" name="Freeform 33"/>
          <p:cNvSpPr/>
          <p:nvPr/>
        </p:nvSpPr>
        <p:spPr>
          <a:xfrm>
            <a:off x="2914395" y="1099439"/>
            <a:ext cx="367559" cy="205920"/>
          </a:xfrm>
          <a:custGeom>
            <a:avLst/>
            <a:gdLst>
              <a:gd name="f0" fmla="val 0"/>
              <a:gd name="f1" fmla="val 21600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l" t="t" r="r" b="b"/>
            <a:pathLst>
              <a:path w="21600" h="21600">
                <a:moveTo>
                  <a:pt x="f0" y="f0"/>
                </a:moveTo>
                <a:lnTo>
                  <a:pt x="f1" y="f0"/>
                </a:lnTo>
                <a:lnTo>
                  <a:pt x="f1" y="f1"/>
                </a:lnTo>
                <a:lnTo>
                  <a:pt x="f0" y="f1"/>
                </a:lnTo>
                <a:lnTo>
                  <a:pt x="f0" y="f0"/>
                </a:lnTo>
                <a:close/>
              </a:path>
            </a:pathLst>
          </a:custGeom>
          <a:noFill/>
          <a:ln>
            <a:noFill/>
            <a:prstDash val="solid"/>
          </a:ln>
        </p:spPr>
        <p:txBody>
          <a:bodyPr vert="horz" wrap="square" lIns="0" tIns="0" rIns="0" bIns="0" anchor="ctr" anchorCtr="0" compatLnSpc="0">
            <a:spAutoFit/>
          </a:bodyPr>
          <a:lstStyle/>
          <a:p>
            <a:pPr marL="0" marR="0" lvl="0" indent="0" algn="ctr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pl-PL" sz="1200" b="1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Tahoma" pitchFamily="2"/>
              </a:rPr>
              <a:t>III</a:t>
            </a:r>
          </a:p>
        </p:txBody>
      </p:sp>
      <p:sp>
        <p:nvSpPr>
          <p:cNvPr id="35" name="Freeform 34"/>
          <p:cNvSpPr/>
          <p:nvPr/>
        </p:nvSpPr>
        <p:spPr>
          <a:xfrm>
            <a:off x="3289154" y="1099439"/>
            <a:ext cx="367559" cy="205920"/>
          </a:xfrm>
          <a:custGeom>
            <a:avLst/>
            <a:gdLst>
              <a:gd name="f0" fmla="val 0"/>
              <a:gd name="f1" fmla="val 21600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l" t="t" r="r" b="b"/>
            <a:pathLst>
              <a:path w="21600" h="21600">
                <a:moveTo>
                  <a:pt x="f0" y="f0"/>
                </a:moveTo>
                <a:lnTo>
                  <a:pt x="f1" y="f0"/>
                </a:lnTo>
                <a:lnTo>
                  <a:pt x="f1" y="f1"/>
                </a:lnTo>
                <a:lnTo>
                  <a:pt x="f0" y="f1"/>
                </a:lnTo>
                <a:lnTo>
                  <a:pt x="f0" y="f0"/>
                </a:lnTo>
                <a:close/>
              </a:path>
            </a:pathLst>
          </a:custGeom>
          <a:noFill/>
          <a:ln>
            <a:noFill/>
            <a:prstDash val="solid"/>
          </a:ln>
        </p:spPr>
        <p:txBody>
          <a:bodyPr vert="horz" wrap="square" lIns="0" tIns="0" rIns="0" bIns="0" anchor="ctr" anchorCtr="0" compatLnSpc="0">
            <a:spAutoFit/>
          </a:bodyPr>
          <a:lstStyle/>
          <a:p>
            <a:pPr marL="0" marR="0" lvl="0" indent="0" algn="ctr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pl-PL" sz="1200" b="1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Tahoma" pitchFamily="2"/>
              </a:rPr>
              <a:t>IV</a:t>
            </a:r>
          </a:p>
        </p:txBody>
      </p:sp>
      <p:sp>
        <p:nvSpPr>
          <p:cNvPr id="36" name="Freeform 35"/>
          <p:cNvSpPr/>
          <p:nvPr/>
        </p:nvSpPr>
        <p:spPr>
          <a:xfrm>
            <a:off x="3664275" y="1099439"/>
            <a:ext cx="367559" cy="205920"/>
          </a:xfrm>
          <a:custGeom>
            <a:avLst/>
            <a:gdLst>
              <a:gd name="f0" fmla="val 0"/>
              <a:gd name="f1" fmla="val 21600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l" t="t" r="r" b="b"/>
            <a:pathLst>
              <a:path w="21600" h="21600">
                <a:moveTo>
                  <a:pt x="f0" y="f0"/>
                </a:moveTo>
                <a:lnTo>
                  <a:pt x="f1" y="f0"/>
                </a:lnTo>
                <a:lnTo>
                  <a:pt x="f1" y="f1"/>
                </a:lnTo>
                <a:lnTo>
                  <a:pt x="f0" y="f1"/>
                </a:lnTo>
                <a:lnTo>
                  <a:pt x="f0" y="f0"/>
                </a:lnTo>
                <a:close/>
              </a:path>
            </a:pathLst>
          </a:custGeom>
          <a:noFill/>
          <a:ln>
            <a:noFill/>
            <a:prstDash val="solid"/>
          </a:ln>
        </p:spPr>
        <p:txBody>
          <a:bodyPr vert="horz" wrap="square" lIns="0" tIns="0" rIns="0" bIns="0" anchor="ctr" anchorCtr="0" compatLnSpc="0">
            <a:spAutoFit/>
          </a:bodyPr>
          <a:lstStyle/>
          <a:p>
            <a:pPr marL="0" marR="0" lvl="0" indent="0" algn="ctr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pl-PL" sz="1200" b="1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Tahoma" pitchFamily="2"/>
              </a:rPr>
              <a:t>V</a:t>
            </a:r>
          </a:p>
        </p:txBody>
      </p:sp>
      <p:sp>
        <p:nvSpPr>
          <p:cNvPr id="37" name="Freeform 36"/>
          <p:cNvSpPr/>
          <p:nvPr/>
        </p:nvSpPr>
        <p:spPr>
          <a:xfrm>
            <a:off x="4039035" y="1099439"/>
            <a:ext cx="367559" cy="205920"/>
          </a:xfrm>
          <a:custGeom>
            <a:avLst/>
            <a:gdLst>
              <a:gd name="f0" fmla="val 0"/>
              <a:gd name="f1" fmla="val 21600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l" t="t" r="r" b="b"/>
            <a:pathLst>
              <a:path w="21600" h="21600">
                <a:moveTo>
                  <a:pt x="f0" y="f0"/>
                </a:moveTo>
                <a:lnTo>
                  <a:pt x="f1" y="f0"/>
                </a:lnTo>
                <a:lnTo>
                  <a:pt x="f1" y="f1"/>
                </a:lnTo>
                <a:lnTo>
                  <a:pt x="f0" y="f1"/>
                </a:lnTo>
                <a:lnTo>
                  <a:pt x="f0" y="f0"/>
                </a:lnTo>
                <a:close/>
              </a:path>
            </a:pathLst>
          </a:custGeom>
          <a:noFill/>
          <a:ln>
            <a:noFill/>
            <a:prstDash val="solid"/>
          </a:ln>
        </p:spPr>
        <p:txBody>
          <a:bodyPr vert="horz" wrap="square" lIns="0" tIns="0" rIns="0" bIns="0" anchor="ctr" anchorCtr="0" compatLnSpc="0">
            <a:spAutoFit/>
          </a:bodyPr>
          <a:lstStyle/>
          <a:p>
            <a:pPr marL="0" marR="0" lvl="0" indent="0" algn="ctr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pl-PL" sz="1200" b="1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Tahoma" pitchFamily="2"/>
              </a:rPr>
              <a:t>VI</a:t>
            </a:r>
          </a:p>
        </p:txBody>
      </p:sp>
      <p:sp>
        <p:nvSpPr>
          <p:cNvPr id="38" name="Freeform 37"/>
          <p:cNvSpPr/>
          <p:nvPr/>
        </p:nvSpPr>
        <p:spPr>
          <a:xfrm>
            <a:off x="4414155" y="1099439"/>
            <a:ext cx="367559" cy="205920"/>
          </a:xfrm>
          <a:custGeom>
            <a:avLst/>
            <a:gdLst>
              <a:gd name="f0" fmla="val 0"/>
              <a:gd name="f1" fmla="val 21600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l" t="t" r="r" b="b"/>
            <a:pathLst>
              <a:path w="21600" h="21600">
                <a:moveTo>
                  <a:pt x="f0" y="f0"/>
                </a:moveTo>
                <a:lnTo>
                  <a:pt x="f1" y="f0"/>
                </a:lnTo>
                <a:lnTo>
                  <a:pt x="f1" y="f1"/>
                </a:lnTo>
                <a:lnTo>
                  <a:pt x="f0" y="f1"/>
                </a:lnTo>
                <a:lnTo>
                  <a:pt x="f0" y="f0"/>
                </a:lnTo>
                <a:close/>
              </a:path>
            </a:pathLst>
          </a:custGeom>
          <a:noFill/>
          <a:ln>
            <a:noFill/>
            <a:prstDash val="solid"/>
          </a:ln>
        </p:spPr>
        <p:txBody>
          <a:bodyPr vert="horz" wrap="square" lIns="0" tIns="0" rIns="0" bIns="0" anchor="ctr" anchorCtr="0" compatLnSpc="0">
            <a:spAutoFit/>
          </a:bodyPr>
          <a:lstStyle/>
          <a:p>
            <a:pPr marL="0" marR="0" lvl="0" indent="0" algn="ctr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pl-PL" sz="1200" b="1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Tahoma" pitchFamily="2"/>
              </a:rPr>
              <a:t>VII</a:t>
            </a:r>
          </a:p>
        </p:txBody>
      </p:sp>
      <p:sp>
        <p:nvSpPr>
          <p:cNvPr id="39" name="Freeform 38"/>
          <p:cNvSpPr/>
          <p:nvPr/>
        </p:nvSpPr>
        <p:spPr>
          <a:xfrm>
            <a:off x="4788915" y="1099439"/>
            <a:ext cx="367559" cy="205920"/>
          </a:xfrm>
          <a:custGeom>
            <a:avLst/>
            <a:gdLst>
              <a:gd name="f0" fmla="val 0"/>
              <a:gd name="f1" fmla="val 21600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l" t="t" r="r" b="b"/>
            <a:pathLst>
              <a:path w="21600" h="21600">
                <a:moveTo>
                  <a:pt x="f0" y="f0"/>
                </a:moveTo>
                <a:lnTo>
                  <a:pt x="f1" y="f0"/>
                </a:lnTo>
                <a:lnTo>
                  <a:pt x="f1" y="f1"/>
                </a:lnTo>
                <a:lnTo>
                  <a:pt x="f0" y="f1"/>
                </a:lnTo>
                <a:lnTo>
                  <a:pt x="f0" y="f0"/>
                </a:lnTo>
                <a:close/>
              </a:path>
            </a:pathLst>
          </a:custGeom>
          <a:noFill/>
          <a:ln>
            <a:noFill/>
            <a:prstDash val="solid"/>
          </a:ln>
        </p:spPr>
        <p:txBody>
          <a:bodyPr vert="horz" wrap="square" lIns="0" tIns="0" rIns="0" bIns="0" anchor="ctr" anchorCtr="0" compatLnSpc="0">
            <a:spAutoFit/>
          </a:bodyPr>
          <a:lstStyle/>
          <a:p>
            <a:pPr marL="0" marR="0" lvl="0" indent="0" algn="ctr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pl-PL" sz="1200" b="1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Tahoma" pitchFamily="2"/>
              </a:rPr>
              <a:t>VIII</a:t>
            </a:r>
          </a:p>
        </p:txBody>
      </p:sp>
      <p:sp>
        <p:nvSpPr>
          <p:cNvPr id="40" name="Freeform 39"/>
          <p:cNvSpPr/>
          <p:nvPr/>
        </p:nvSpPr>
        <p:spPr>
          <a:xfrm>
            <a:off x="5163675" y="1099439"/>
            <a:ext cx="367559" cy="205920"/>
          </a:xfrm>
          <a:custGeom>
            <a:avLst/>
            <a:gdLst>
              <a:gd name="f0" fmla="val 0"/>
              <a:gd name="f1" fmla="val 21600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l" t="t" r="r" b="b"/>
            <a:pathLst>
              <a:path w="21600" h="21600">
                <a:moveTo>
                  <a:pt x="f0" y="f0"/>
                </a:moveTo>
                <a:lnTo>
                  <a:pt x="f1" y="f0"/>
                </a:lnTo>
                <a:lnTo>
                  <a:pt x="f1" y="f1"/>
                </a:lnTo>
                <a:lnTo>
                  <a:pt x="f0" y="f1"/>
                </a:lnTo>
                <a:lnTo>
                  <a:pt x="f0" y="f0"/>
                </a:lnTo>
                <a:close/>
              </a:path>
            </a:pathLst>
          </a:custGeom>
          <a:noFill/>
          <a:ln>
            <a:noFill/>
            <a:prstDash val="solid"/>
          </a:ln>
        </p:spPr>
        <p:txBody>
          <a:bodyPr vert="horz" wrap="square" lIns="0" tIns="0" rIns="0" bIns="0" anchor="ctr" anchorCtr="0" compatLnSpc="0">
            <a:spAutoFit/>
          </a:bodyPr>
          <a:lstStyle/>
          <a:p>
            <a:pPr marL="0" marR="0" lvl="0" indent="0" algn="ctr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pl-PL" sz="1200" b="1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Tahoma" pitchFamily="2"/>
              </a:rPr>
              <a:t>IX</a:t>
            </a:r>
          </a:p>
        </p:txBody>
      </p:sp>
      <p:sp>
        <p:nvSpPr>
          <p:cNvPr id="41" name="Freeform 40"/>
          <p:cNvSpPr/>
          <p:nvPr/>
        </p:nvSpPr>
        <p:spPr>
          <a:xfrm>
            <a:off x="5538795" y="1099439"/>
            <a:ext cx="367559" cy="205920"/>
          </a:xfrm>
          <a:custGeom>
            <a:avLst/>
            <a:gdLst>
              <a:gd name="f0" fmla="val 0"/>
              <a:gd name="f1" fmla="val 21600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l" t="t" r="r" b="b"/>
            <a:pathLst>
              <a:path w="21600" h="21600">
                <a:moveTo>
                  <a:pt x="f0" y="f0"/>
                </a:moveTo>
                <a:lnTo>
                  <a:pt x="f1" y="f0"/>
                </a:lnTo>
                <a:lnTo>
                  <a:pt x="f1" y="f1"/>
                </a:lnTo>
                <a:lnTo>
                  <a:pt x="f0" y="f1"/>
                </a:lnTo>
                <a:lnTo>
                  <a:pt x="f0" y="f0"/>
                </a:lnTo>
                <a:close/>
              </a:path>
            </a:pathLst>
          </a:custGeom>
          <a:noFill/>
          <a:ln>
            <a:noFill/>
            <a:prstDash val="solid"/>
          </a:ln>
        </p:spPr>
        <p:txBody>
          <a:bodyPr vert="horz" wrap="square" lIns="0" tIns="0" rIns="0" bIns="0" anchor="ctr" anchorCtr="0" compatLnSpc="0">
            <a:spAutoFit/>
          </a:bodyPr>
          <a:lstStyle/>
          <a:p>
            <a:pPr marL="0" marR="0" lvl="0" indent="0" algn="ctr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pl-PL" sz="1200" b="1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Tahoma" pitchFamily="2"/>
              </a:rPr>
              <a:t>X</a:t>
            </a:r>
          </a:p>
        </p:txBody>
      </p:sp>
      <p:sp>
        <p:nvSpPr>
          <p:cNvPr id="42" name="Freeform 41"/>
          <p:cNvSpPr/>
          <p:nvPr/>
        </p:nvSpPr>
        <p:spPr>
          <a:xfrm>
            <a:off x="5915355" y="1099439"/>
            <a:ext cx="366119" cy="205920"/>
          </a:xfrm>
          <a:custGeom>
            <a:avLst/>
            <a:gdLst>
              <a:gd name="f0" fmla="val 0"/>
              <a:gd name="f1" fmla="val 21600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l" t="t" r="r" b="b"/>
            <a:pathLst>
              <a:path w="21600" h="21600">
                <a:moveTo>
                  <a:pt x="f0" y="f0"/>
                </a:moveTo>
                <a:lnTo>
                  <a:pt x="f1" y="f0"/>
                </a:lnTo>
                <a:lnTo>
                  <a:pt x="f1" y="f1"/>
                </a:lnTo>
                <a:lnTo>
                  <a:pt x="f0" y="f1"/>
                </a:lnTo>
                <a:lnTo>
                  <a:pt x="f0" y="f0"/>
                </a:lnTo>
                <a:close/>
              </a:path>
            </a:pathLst>
          </a:custGeom>
          <a:noFill/>
          <a:ln>
            <a:noFill/>
            <a:prstDash val="solid"/>
          </a:ln>
        </p:spPr>
        <p:txBody>
          <a:bodyPr vert="horz" wrap="square" lIns="0" tIns="0" rIns="0" bIns="0" anchor="ctr" anchorCtr="0" compatLnSpc="0">
            <a:spAutoFit/>
          </a:bodyPr>
          <a:lstStyle/>
          <a:p>
            <a:pPr marL="0" marR="0" lvl="0" indent="0" algn="ctr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pl-PL" sz="1200" b="1" i="0" u="none" strike="noStrike" kern="1200" dirty="0">
                <a:ln>
                  <a:noFill/>
                </a:ln>
                <a:latin typeface="Arial" pitchFamily="18"/>
                <a:ea typeface="Arial Unicode MS" pitchFamily="2"/>
                <a:cs typeface="Tahoma" pitchFamily="2"/>
              </a:rPr>
              <a:t>XI</a:t>
            </a:r>
          </a:p>
        </p:txBody>
      </p:sp>
      <p:sp>
        <p:nvSpPr>
          <p:cNvPr id="43" name="Freeform 42"/>
          <p:cNvSpPr/>
          <p:nvPr/>
        </p:nvSpPr>
        <p:spPr>
          <a:xfrm>
            <a:off x="6290115" y="1099439"/>
            <a:ext cx="366119" cy="205920"/>
          </a:xfrm>
          <a:custGeom>
            <a:avLst/>
            <a:gdLst>
              <a:gd name="f0" fmla="val 0"/>
              <a:gd name="f1" fmla="val 21600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l" t="t" r="r" b="b"/>
            <a:pathLst>
              <a:path w="21600" h="21600">
                <a:moveTo>
                  <a:pt x="f0" y="f0"/>
                </a:moveTo>
                <a:lnTo>
                  <a:pt x="f1" y="f0"/>
                </a:lnTo>
                <a:lnTo>
                  <a:pt x="f1" y="f1"/>
                </a:lnTo>
                <a:lnTo>
                  <a:pt x="f0" y="f1"/>
                </a:lnTo>
                <a:lnTo>
                  <a:pt x="f0" y="f0"/>
                </a:lnTo>
                <a:close/>
              </a:path>
            </a:pathLst>
          </a:custGeom>
          <a:noFill/>
          <a:ln>
            <a:noFill/>
            <a:prstDash val="solid"/>
          </a:ln>
        </p:spPr>
        <p:txBody>
          <a:bodyPr vert="horz" wrap="square" lIns="0" tIns="0" rIns="0" bIns="0" anchor="ctr" anchorCtr="0" compatLnSpc="0">
            <a:spAutoFit/>
          </a:bodyPr>
          <a:lstStyle/>
          <a:p>
            <a:pPr marL="0" marR="0" lvl="0" indent="0" algn="ctr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pl-PL" sz="1200" b="1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Tahoma" pitchFamily="2"/>
              </a:rPr>
              <a:t>XII</a:t>
            </a:r>
          </a:p>
        </p:txBody>
      </p:sp>
      <p:sp>
        <p:nvSpPr>
          <p:cNvPr id="44" name="Freeform 43"/>
          <p:cNvSpPr/>
          <p:nvPr/>
        </p:nvSpPr>
        <p:spPr>
          <a:xfrm>
            <a:off x="6665235" y="1099439"/>
            <a:ext cx="366119" cy="205920"/>
          </a:xfrm>
          <a:custGeom>
            <a:avLst/>
            <a:gdLst>
              <a:gd name="f0" fmla="val 0"/>
              <a:gd name="f1" fmla="val 21600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l" t="t" r="r" b="b"/>
            <a:pathLst>
              <a:path w="21600" h="21600">
                <a:moveTo>
                  <a:pt x="f0" y="f0"/>
                </a:moveTo>
                <a:lnTo>
                  <a:pt x="f1" y="f0"/>
                </a:lnTo>
                <a:lnTo>
                  <a:pt x="f1" y="f1"/>
                </a:lnTo>
                <a:lnTo>
                  <a:pt x="f0" y="f1"/>
                </a:lnTo>
                <a:lnTo>
                  <a:pt x="f0" y="f0"/>
                </a:lnTo>
                <a:close/>
              </a:path>
            </a:pathLst>
          </a:custGeom>
          <a:noFill/>
          <a:ln>
            <a:noFill/>
            <a:prstDash val="solid"/>
          </a:ln>
        </p:spPr>
        <p:txBody>
          <a:bodyPr vert="horz" wrap="square" lIns="0" tIns="0" rIns="0" bIns="0" anchor="ctr" anchorCtr="0" compatLnSpc="0">
            <a:spAutoFit/>
          </a:bodyPr>
          <a:lstStyle/>
          <a:p>
            <a:pPr marL="0" marR="0" lvl="0" indent="0" algn="ctr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pl-PL" sz="1200" b="1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Tahoma" pitchFamily="2"/>
              </a:rPr>
              <a:t>I</a:t>
            </a:r>
          </a:p>
        </p:txBody>
      </p:sp>
      <p:sp>
        <p:nvSpPr>
          <p:cNvPr id="45" name="Freeform 44"/>
          <p:cNvSpPr/>
          <p:nvPr/>
        </p:nvSpPr>
        <p:spPr>
          <a:xfrm>
            <a:off x="7040355" y="1099439"/>
            <a:ext cx="366119" cy="205920"/>
          </a:xfrm>
          <a:custGeom>
            <a:avLst/>
            <a:gdLst>
              <a:gd name="f0" fmla="val 0"/>
              <a:gd name="f1" fmla="val 21600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l" t="t" r="r" b="b"/>
            <a:pathLst>
              <a:path w="21600" h="21600">
                <a:moveTo>
                  <a:pt x="f0" y="f0"/>
                </a:moveTo>
                <a:lnTo>
                  <a:pt x="f1" y="f0"/>
                </a:lnTo>
                <a:lnTo>
                  <a:pt x="f1" y="f1"/>
                </a:lnTo>
                <a:lnTo>
                  <a:pt x="f0" y="f1"/>
                </a:lnTo>
                <a:lnTo>
                  <a:pt x="f0" y="f0"/>
                </a:lnTo>
                <a:close/>
              </a:path>
            </a:pathLst>
          </a:custGeom>
          <a:noFill/>
          <a:ln>
            <a:noFill/>
            <a:prstDash val="solid"/>
          </a:ln>
        </p:spPr>
        <p:txBody>
          <a:bodyPr vert="horz" wrap="square" lIns="0" tIns="0" rIns="0" bIns="0" anchor="ctr" anchorCtr="0" compatLnSpc="0">
            <a:spAutoFit/>
          </a:bodyPr>
          <a:lstStyle/>
          <a:p>
            <a:pPr marL="0" marR="0" lvl="0" indent="0" algn="ctr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pl-PL" sz="1200" b="1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Tahoma" pitchFamily="2"/>
              </a:rPr>
              <a:t>II</a:t>
            </a:r>
          </a:p>
        </p:txBody>
      </p:sp>
      <p:sp>
        <p:nvSpPr>
          <p:cNvPr id="46" name="Freeform 45"/>
          <p:cNvSpPr/>
          <p:nvPr/>
        </p:nvSpPr>
        <p:spPr>
          <a:xfrm>
            <a:off x="7415115" y="1099439"/>
            <a:ext cx="367559" cy="205920"/>
          </a:xfrm>
          <a:custGeom>
            <a:avLst/>
            <a:gdLst>
              <a:gd name="f0" fmla="val 0"/>
              <a:gd name="f1" fmla="val 21600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l" t="t" r="r" b="b"/>
            <a:pathLst>
              <a:path w="21600" h="21600">
                <a:moveTo>
                  <a:pt x="f0" y="f0"/>
                </a:moveTo>
                <a:lnTo>
                  <a:pt x="f1" y="f0"/>
                </a:lnTo>
                <a:lnTo>
                  <a:pt x="f1" y="f1"/>
                </a:lnTo>
                <a:lnTo>
                  <a:pt x="f0" y="f1"/>
                </a:lnTo>
                <a:lnTo>
                  <a:pt x="f0" y="f0"/>
                </a:lnTo>
                <a:close/>
              </a:path>
            </a:pathLst>
          </a:custGeom>
          <a:noFill/>
          <a:ln>
            <a:noFill/>
            <a:prstDash val="solid"/>
          </a:ln>
        </p:spPr>
        <p:txBody>
          <a:bodyPr vert="horz" wrap="square" lIns="0" tIns="0" rIns="0" bIns="0" anchor="ctr" anchorCtr="0" compatLnSpc="0">
            <a:spAutoFit/>
          </a:bodyPr>
          <a:lstStyle/>
          <a:p>
            <a:pPr marL="0" marR="0" lvl="0" indent="0" algn="ctr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pl-PL" sz="1200" b="1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Tahoma" pitchFamily="2"/>
              </a:rPr>
              <a:t>III</a:t>
            </a:r>
          </a:p>
        </p:txBody>
      </p:sp>
      <p:sp>
        <p:nvSpPr>
          <p:cNvPr id="47" name="Freeform 46"/>
          <p:cNvSpPr/>
          <p:nvPr/>
        </p:nvSpPr>
        <p:spPr>
          <a:xfrm>
            <a:off x="7790234" y="1099439"/>
            <a:ext cx="367559" cy="205920"/>
          </a:xfrm>
          <a:custGeom>
            <a:avLst/>
            <a:gdLst>
              <a:gd name="f0" fmla="val 0"/>
              <a:gd name="f1" fmla="val 21600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l" t="t" r="r" b="b"/>
            <a:pathLst>
              <a:path w="21600" h="21600">
                <a:moveTo>
                  <a:pt x="f0" y="f0"/>
                </a:moveTo>
                <a:lnTo>
                  <a:pt x="f1" y="f0"/>
                </a:lnTo>
                <a:lnTo>
                  <a:pt x="f1" y="f1"/>
                </a:lnTo>
                <a:lnTo>
                  <a:pt x="f0" y="f1"/>
                </a:lnTo>
                <a:lnTo>
                  <a:pt x="f0" y="f0"/>
                </a:lnTo>
                <a:close/>
              </a:path>
            </a:pathLst>
          </a:custGeom>
          <a:noFill/>
          <a:ln>
            <a:noFill/>
            <a:prstDash val="solid"/>
          </a:ln>
        </p:spPr>
        <p:txBody>
          <a:bodyPr vert="horz" wrap="square" lIns="0" tIns="0" rIns="0" bIns="0" anchor="ctr" anchorCtr="0" compatLnSpc="0">
            <a:spAutoFit/>
          </a:bodyPr>
          <a:lstStyle/>
          <a:p>
            <a:pPr marL="0" marR="0" lvl="0" indent="0" algn="ctr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pl-PL" sz="1200" b="1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Tahoma" pitchFamily="2"/>
              </a:rPr>
              <a:t>IV</a:t>
            </a:r>
          </a:p>
        </p:txBody>
      </p:sp>
      <p:sp>
        <p:nvSpPr>
          <p:cNvPr id="48" name="Freeform 47"/>
          <p:cNvSpPr/>
          <p:nvPr/>
        </p:nvSpPr>
        <p:spPr>
          <a:xfrm>
            <a:off x="8164995" y="1099439"/>
            <a:ext cx="367559" cy="205920"/>
          </a:xfrm>
          <a:custGeom>
            <a:avLst/>
            <a:gdLst>
              <a:gd name="f0" fmla="val 0"/>
              <a:gd name="f1" fmla="val 21600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l" t="t" r="r" b="b"/>
            <a:pathLst>
              <a:path w="21600" h="21600">
                <a:moveTo>
                  <a:pt x="f0" y="f0"/>
                </a:moveTo>
                <a:lnTo>
                  <a:pt x="f1" y="f0"/>
                </a:lnTo>
                <a:lnTo>
                  <a:pt x="f1" y="f1"/>
                </a:lnTo>
                <a:lnTo>
                  <a:pt x="f0" y="f1"/>
                </a:lnTo>
                <a:lnTo>
                  <a:pt x="f0" y="f0"/>
                </a:lnTo>
                <a:close/>
              </a:path>
            </a:pathLst>
          </a:custGeom>
          <a:noFill/>
          <a:ln>
            <a:noFill/>
            <a:prstDash val="solid"/>
          </a:ln>
        </p:spPr>
        <p:txBody>
          <a:bodyPr vert="horz" wrap="square" lIns="0" tIns="0" rIns="0" bIns="0" anchor="ctr" anchorCtr="0" compatLnSpc="0">
            <a:spAutoFit/>
          </a:bodyPr>
          <a:lstStyle/>
          <a:p>
            <a:pPr marL="0" marR="0" lvl="0" indent="0" algn="ctr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pl-PL" sz="1200" b="1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Tahoma" pitchFamily="2"/>
              </a:rPr>
              <a:t>V</a:t>
            </a:r>
          </a:p>
        </p:txBody>
      </p:sp>
      <p:sp>
        <p:nvSpPr>
          <p:cNvPr id="49" name="Freeform 48"/>
          <p:cNvSpPr/>
          <p:nvPr/>
        </p:nvSpPr>
        <p:spPr>
          <a:xfrm>
            <a:off x="8539755" y="1099439"/>
            <a:ext cx="367559" cy="205920"/>
          </a:xfrm>
          <a:custGeom>
            <a:avLst/>
            <a:gdLst>
              <a:gd name="f0" fmla="val 0"/>
              <a:gd name="f1" fmla="val 21600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l" t="t" r="r" b="b"/>
            <a:pathLst>
              <a:path w="21600" h="21600">
                <a:moveTo>
                  <a:pt x="f0" y="f0"/>
                </a:moveTo>
                <a:lnTo>
                  <a:pt x="f1" y="f0"/>
                </a:lnTo>
                <a:lnTo>
                  <a:pt x="f1" y="f1"/>
                </a:lnTo>
                <a:lnTo>
                  <a:pt x="f0" y="f1"/>
                </a:lnTo>
                <a:lnTo>
                  <a:pt x="f0" y="f0"/>
                </a:lnTo>
                <a:close/>
              </a:path>
            </a:pathLst>
          </a:custGeom>
          <a:noFill/>
          <a:ln>
            <a:noFill/>
            <a:prstDash val="solid"/>
          </a:ln>
        </p:spPr>
        <p:txBody>
          <a:bodyPr vert="horz" wrap="square" lIns="0" tIns="0" rIns="0" bIns="0" anchor="ctr" anchorCtr="0" compatLnSpc="0">
            <a:spAutoFit/>
          </a:bodyPr>
          <a:lstStyle/>
          <a:p>
            <a:pPr marL="0" marR="0" lvl="0" indent="0" algn="ctr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pl-PL" sz="1200" b="1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Tahoma" pitchFamily="2"/>
              </a:rPr>
              <a:t>VI</a:t>
            </a:r>
          </a:p>
        </p:txBody>
      </p:sp>
      <p:sp>
        <p:nvSpPr>
          <p:cNvPr id="50" name="Freeform 49"/>
          <p:cNvSpPr/>
          <p:nvPr/>
        </p:nvSpPr>
        <p:spPr>
          <a:xfrm>
            <a:off x="8914875" y="1099439"/>
            <a:ext cx="367559" cy="205920"/>
          </a:xfrm>
          <a:custGeom>
            <a:avLst/>
            <a:gdLst>
              <a:gd name="f0" fmla="val 0"/>
              <a:gd name="f1" fmla="val 21600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l" t="t" r="r" b="b"/>
            <a:pathLst>
              <a:path w="21600" h="21600">
                <a:moveTo>
                  <a:pt x="f0" y="f0"/>
                </a:moveTo>
                <a:lnTo>
                  <a:pt x="f1" y="f0"/>
                </a:lnTo>
                <a:lnTo>
                  <a:pt x="f1" y="f1"/>
                </a:lnTo>
                <a:lnTo>
                  <a:pt x="f0" y="f1"/>
                </a:lnTo>
                <a:lnTo>
                  <a:pt x="f0" y="f0"/>
                </a:lnTo>
                <a:close/>
              </a:path>
            </a:pathLst>
          </a:custGeom>
          <a:noFill/>
          <a:ln>
            <a:noFill/>
            <a:prstDash val="solid"/>
          </a:ln>
        </p:spPr>
        <p:txBody>
          <a:bodyPr vert="horz" wrap="square" lIns="0" tIns="0" rIns="0" bIns="0" anchor="ctr" anchorCtr="0" compatLnSpc="0">
            <a:spAutoFit/>
          </a:bodyPr>
          <a:lstStyle/>
          <a:p>
            <a:pPr marL="0" marR="0" lvl="0" indent="0" algn="ctr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pl-PL" sz="1200" b="1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Tahoma" pitchFamily="2"/>
              </a:rPr>
              <a:t>VII</a:t>
            </a:r>
          </a:p>
        </p:txBody>
      </p:sp>
      <p:sp>
        <p:nvSpPr>
          <p:cNvPr id="51" name="Freeform 50"/>
          <p:cNvSpPr/>
          <p:nvPr/>
        </p:nvSpPr>
        <p:spPr>
          <a:xfrm>
            <a:off x="9391155" y="1099439"/>
            <a:ext cx="366119" cy="205920"/>
          </a:xfrm>
          <a:custGeom>
            <a:avLst/>
            <a:gdLst>
              <a:gd name="f0" fmla="val 0"/>
              <a:gd name="f1" fmla="val 21600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l" t="t" r="r" b="b"/>
            <a:pathLst>
              <a:path w="21600" h="21600">
                <a:moveTo>
                  <a:pt x="f0" y="f0"/>
                </a:moveTo>
                <a:lnTo>
                  <a:pt x="f1" y="f0"/>
                </a:lnTo>
                <a:lnTo>
                  <a:pt x="f1" y="f1"/>
                </a:lnTo>
                <a:lnTo>
                  <a:pt x="f0" y="f1"/>
                </a:lnTo>
                <a:lnTo>
                  <a:pt x="f0" y="f0"/>
                </a:lnTo>
                <a:close/>
              </a:path>
            </a:pathLst>
          </a:custGeom>
          <a:noFill/>
          <a:ln>
            <a:noFill/>
            <a:prstDash val="solid"/>
          </a:ln>
        </p:spPr>
        <p:txBody>
          <a:bodyPr vert="horz" wrap="square" lIns="0" tIns="0" rIns="0" bIns="0" anchor="ctr" anchorCtr="0" compatLnSpc="0">
            <a:spAutoFit/>
          </a:bodyPr>
          <a:lstStyle/>
          <a:p>
            <a:pPr marL="0" marR="0" lvl="0" indent="0" algn="ctr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pl-PL" sz="1200" b="1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Tahoma" pitchFamily="2"/>
              </a:rPr>
              <a:t>IX</a:t>
            </a:r>
          </a:p>
        </p:txBody>
      </p:sp>
      <p:grpSp>
        <p:nvGrpSpPr>
          <p:cNvPr id="52" name="Group 51"/>
          <p:cNvGrpSpPr/>
          <p:nvPr/>
        </p:nvGrpSpPr>
        <p:grpSpPr>
          <a:xfrm>
            <a:off x="2536035" y="1364039"/>
            <a:ext cx="6754680" cy="5411881"/>
            <a:chOff x="2574360" y="1639439"/>
            <a:chExt cx="6754680" cy="5411881"/>
          </a:xfrm>
        </p:grpSpPr>
        <p:sp>
          <p:nvSpPr>
            <p:cNvPr id="53" name="Straight Connector 52"/>
            <p:cNvSpPr/>
            <p:nvPr/>
          </p:nvSpPr>
          <p:spPr>
            <a:xfrm>
              <a:off x="8952120" y="1639439"/>
              <a:ext cx="0" cy="5411881"/>
            </a:xfrm>
            <a:prstGeom prst="line">
              <a:avLst/>
            </a:prstGeom>
            <a:noFill/>
            <a:ln w="9360">
              <a:solidFill>
                <a:srgbClr val="909090"/>
              </a:solidFill>
              <a:prstDash val="solid"/>
              <a:miter/>
            </a:ln>
          </p:spPr>
          <p:txBody>
            <a:bodyPr vert="horz" wrap="square" lIns="90000" tIns="46800" rIns="90000" bIns="46800" anchor="t" anchorCtr="0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18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Tahoma" pitchFamily="2"/>
              </a:endParaRPr>
            </a:p>
          </p:txBody>
        </p:sp>
        <p:sp>
          <p:nvSpPr>
            <p:cNvPr id="54" name="Straight Connector 53"/>
            <p:cNvSpPr/>
            <p:nvPr/>
          </p:nvSpPr>
          <p:spPr>
            <a:xfrm>
              <a:off x="8577360" y="1639439"/>
              <a:ext cx="0" cy="5401081"/>
            </a:xfrm>
            <a:prstGeom prst="line">
              <a:avLst/>
            </a:prstGeom>
            <a:noFill/>
            <a:ln w="9360">
              <a:solidFill>
                <a:srgbClr val="909090"/>
              </a:solidFill>
              <a:prstDash val="solid"/>
              <a:miter/>
            </a:ln>
          </p:spPr>
          <p:txBody>
            <a:bodyPr vert="horz" wrap="square" lIns="90000" tIns="46800" rIns="90000" bIns="46800" anchor="t" anchorCtr="0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18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Tahoma" pitchFamily="2"/>
              </a:endParaRPr>
            </a:p>
          </p:txBody>
        </p:sp>
        <p:sp>
          <p:nvSpPr>
            <p:cNvPr id="55" name="Straight Connector 54"/>
            <p:cNvSpPr/>
            <p:nvPr/>
          </p:nvSpPr>
          <p:spPr>
            <a:xfrm>
              <a:off x="2574360" y="1639439"/>
              <a:ext cx="0" cy="5411881"/>
            </a:xfrm>
            <a:prstGeom prst="line">
              <a:avLst/>
            </a:prstGeom>
            <a:noFill/>
            <a:ln w="9360">
              <a:solidFill>
                <a:srgbClr val="909090"/>
              </a:solidFill>
              <a:prstDash val="solid"/>
              <a:miter/>
            </a:ln>
          </p:spPr>
          <p:txBody>
            <a:bodyPr vert="horz" wrap="square" lIns="90000" tIns="46800" rIns="90000" bIns="46800" anchor="t" anchorCtr="0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18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Tahoma" pitchFamily="2"/>
              </a:endParaRPr>
            </a:p>
          </p:txBody>
        </p:sp>
        <p:sp>
          <p:nvSpPr>
            <p:cNvPr id="56" name="Straight Connector 55"/>
            <p:cNvSpPr/>
            <p:nvPr/>
          </p:nvSpPr>
          <p:spPr>
            <a:xfrm>
              <a:off x="2949120" y="1639439"/>
              <a:ext cx="0" cy="5411881"/>
            </a:xfrm>
            <a:prstGeom prst="line">
              <a:avLst/>
            </a:prstGeom>
            <a:noFill/>
            <a:ln w="9360">
              <a:solidFill>
                <a:srgbClr val="909090"/>
              </a:solidFill>
              <a:prstDash val="solid"/>
              <a:miter/>
            </a:ln>
          </p:spPr>
          <p:txBody>
            <a:bodyPr vert="horz" wrap="square" lIns="90000" tIns="46800" rIns="90000" bIns="46800" anchor="t" anchorCtr="0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18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Tahoma" pitchFamily="2"/>
              </a:endParaRPr>
            </a:p>
          </p:txBody>
        </p:sp>
        <p:sp>
          <p:nvSpPr>
            <p:cNvPr id="57" name="Straight Connector 56"/>
            <p:cNvSpPr/>
            <p:nvPr/>
          </p:nvSpPr>
          <p:spPr>
            <a:xfrm>
              <a:off x="3699000" y="1639439"/>
              <a:ext cx="0" cy="5411881"/>
            </a:xfrm>
            <a:prstGeom prst="line">
              <a:avLst/>
            </a:prstGeom>
            <a:noFill/>
            <a:ln w="9360">
              <a:solidFill>
                <a:srgbClr val="909090"/>
              </a:solidFill>
              <a:prstDash val="solid"/>
              <a:miter/>
            </a:ln>
          </p:spPr>
          <p:txBody>
            <a:bodyPr vert="horz" wrap="square" lIns="90000" tIns="46800" rIns="90000" bIns="46800" anchor="t" anchorCtr="0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18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Tahoma" pitchFamily="2"/>
              </a:endParaRPr>
            </a:p>
          </p:txBody>
        </p:sp>
        <p:sp>
          <p:nvSpPr>
            <p:cNvPr id="58" name="Straight Connector 57"/>
            <p:cNvSpPr/>
            <p:nvPr/>
          </p:nvSpPr>
          <p:spPr>
            <a:xfrm>
              <a:off x="4449240" y="1639439"/>
              <a:ext cx="0" cy="5411881"/>
            </a:xfrm>
            <a:prstGeom prst="line">
              <a:avLst/>
            </a:prstGeom>
            <a:noFill/>
            <a:ln w="9360">
              <a:solidFill>
                <a:srgbClr val="909090"/>
              </a:solidFill>
              <a:prstDash val="solid"/>
              <a:miter/>
            </a:ln>
          </p:spPr>
          <p:txBody>
            <a:bodyPr vert="horz" wrap="square" lIns="90000" tIns="46800" rIns="90000" bIns="46800" anchor="t" anchorCtr="0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18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Tahoma" pitchFamily="2"/>
              </a:endParaRPr>
            </a:p>
          </p:txBody>
        </p:sp>
        <p:sp>
          <p:nvSpPr>
            <p:cNvPr id="59" name="Straight Connector 58"/>
            <p:cNvSpPr/>
            <p:nvPr/>
          </p:nvSpPr>
          <p:spPr>
            <a:xfrm>
              <a:off x="5200560" y="1639439"/>
              <a:ext cx="0" cy="5411881"/>
            </a:xfrm>
            <a:prstGeom prst="line">
              <a:avLst/>
            </a:prstGeom>
            <a:noFill/>
            <a:ln w="9360">
              <a:solidFill>
                <a:srgbClr val="909090"/>
              </a:solidFill>
              <a:prstDash val="solid"/>
              <a:miter/>
            </a:ln>
          </p:spPr>
          <p:txBody>
            <a:bodyPr vert="horz" wrap="square" lIns="90000" tIns="46800" rIns="90000" bIns="46800" anchor="t" anchorCtr="0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18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Tahoma" pitchFamily="2"/>
              </a:endParaRPr>
            </a:p>
          </p:txBody>
        </p:sp>
        <p:sp>
          <p:nvSpPr>
            <p:cNvPr id="60" name="Straight Connector 59"/>
            <p:cNvSpPr/>
            <p:nvPr/>
          </p:nvSpPr>
          <p:spPr>
            <a:xfrm>
              <a:off x="3323879" y="1639439"/>
              <a:ext cx="0" cy="5411881"/>
            </a:xfrm>
            <a:prstGeom prst="line">
              <a:avLst/>
            </a:prstGeom>
            <a:noFill/>
            <a:ln w="9360">
              <a:solidFill>
                <a:srgbClr val="909090"/>
              </a:solidFill>
              <a:prstDash val="solid"/>
              <a:miter/>
            </a:ln>
          </p:spPr>
          <p:txBody>
            <a:bodyPr vert="horz" wrap="square" lIns="90000" tIns="46800" rIns="90000" bIns="46800" anchor="t" anchorCtr="0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18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Tahoma" pitchFamily="2"/>
              </a:endParaRPr>
            </a:p>
          </p:txBody>
        </p:sp>
        <p:sp>
          <p:nvSpPr>
            <p:cNvPr id="61" name="Straight Connector 60"/>
            <p:cNvSpPr/>
            <p:nvPr/>
          </p:nvSpPr>
          <p:spPr>
            <a:xfrm>
              <a:off x="4073760" y="1639439"/>
              <a:ext cx="0" cy="5411881"/>
            </a:xfrm>
            <a:prstGeom prst="line">
              <a:avLst/>
            </a:prstGeom>
            <a:noFill/>
            <a:ln w="9360">
              <a:solidFill>
                <a:srgbClr val="909090"/>
              </a:solidFill>
              <a:prstDash val="solid"/>
              <a:miter/>
            </a:ln>
          </p:spPr>
          <p:txBody>
            <a:bodyPr vert="horz" wrap="square" lIns="90000" tIns="46800" rIns="90000" bIns="46800" anchor="t" anchorCtr="0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18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Tahoma" pitchFamily="2"/>
              </a:endParaRPr>
            </a:p>
          </p:txBody>
        </p:sp>
        <p:sp>
          <p:nvSpPr>
            <p:cNvPr id="62" name="Straight Connector 61"/>
            <p:cNvSpPr/>
            <p:nvPr/>
          </p:nvSpPr>
          <p:spPr>
            <a:xfrm>
              <a:off x="4825440" y="1639439"/>
              <a:ext cx="0" cy="5411881"/>
            </a:xfrm>
            <a:prstGeom prst="line">
              <a:avLst/>
            </a:prstGeom>
            <a:noFill/>
            <a:ln w="9360">
              <a:solidFill>
                <a:srgbClr val="909090"/>
              </a:solidFill>
              <a:prstDash val="solid"/>
              <a:miter/>
            </a:ln>
          </p:spPr>
          <p:txBody>
            <a:bodyPr vert="horz" wrap="square" lIns="90000" tIns="46800" rIns="90000" bIns="46800" anchor="t" anchorCtr="0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18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Tahoma" pitchFamily="2"/>
              </a:endParaRPr>
            </a:p>
          </p:txBody>
        </p:sp>
        <p:sp>
          <p:nvSpPr>
            <p:cNvPr id="63" name="Straight Connector 62"/>
            <p:cNvSpPr/>
            <p:nvPr/>
          </p:nvSpPr>
          <p:spPr>
            <a:xfrm>
              <a:off x="5950800" y="1639439"/>
              <a:ext cx="0" cy="5411881"/>
            </a:xfrm>
            <a:prstGeom prst="line">
              <a:avLst/>
            </a:prstGeom>
            <a:noFill/>
            <a:ln w="9360">
              <a:solidFill>
                <a:srgbClr val="909090"/>
              </a:solidFill>
              <a:prstDash val="solid"/>
              <a:miter/>
            </a:ln>
          </p:spPr>
          <p:txBody>
            <a:bodyPr vert="horz" wrap="square" lIns="90000" tIns="46800" rIns="90000" bIns="46800" anchor="t" anchorCtr="0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18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Tahoma" pitchFamily="2"/>
              </a:endParaRPr>
            </a:p>
          </p:txBody>
        </p:sp>
        <p:sp>
          <p:nvSpPr>
            <p:cNvPr id="64" name="Straight Connector 63"/>
            <p:cNvSpPr/>
            <p:nvPr/>
          </p:nvSpPr>
          <p:spPr>
            <a:xfrm>
              <a:off x="6325560" y="1639439"/>
              <a:ext cx="0" cy="5411881"/>
            </a:xfrm>
            <a:prstGeom prst="line">
              <a:avLst/>
            </a:prstGeom>
            <a:noFill/>
            <a:ln w="9360">
              <a:solidFill>
                <a:srgbClr val="909090"/>
              </a:solidFill>
              <a:prstDash val="solid"/>
              <a:miter/>
            </a:ln>
          </p:spPr>
          <p:txBody>
            <a:bodyPr vert="horz" wrap="square" lIns="90000" tIns="46800" rIns="90000" bIns="46800" anchor="t" anchorCtr="0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18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Tahoma" pitchFamily="2"/>
              </a:endParaRPr>
            </a:p>
          </p:txBody>
        </p:sp>
        <p:sp>
          <p:nvSpPr>
            <p:cNvPr id="65" name="Straight Connector 64"/>
            <p:cNvSpPr/>
            <p:nvPr/>
          </p:nvSpPr>
          <p:spPr>
            <a:xfrm>
              <a:off x="7452360" y="1639439"/>
              <a:ext cx="0" cy="5411881"/>
            </a:xfrm>
            <a:prstGeom prst="line">
              <a:avLst/>
            </a:prstGeom>
            <a:noFill/>
            <a:ln w="9360">
              <a:solidFill>
                <a:srgbClr val="909090"/>
              </a:solidFill>
              <a:prstDash val="solid"/>
              <a:miter/>
            </a:ln>
          </p:spPr>
          <p:txBody>
            <a:bodyPr vert="horz" wrap="square" lIns="90000" tIns="46800" rIns="90000" bIns="46800" anchor="t" anchorCtr="0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18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Tahoma" pitchFamily="2"/>
              </a:endParaRPr>
            </a:p>
          </p:txBody>
        </p:sp>
        <p:sp>
          <p:nvSpPr>
            <p:cNvPr id="66" name="Straight Connector 65"/>
            <p:cNvSpPr/>
            <p:nvPr/>
          </p:nvSpPr>
          <p:spPr>
            <a:xfrm>
              <a:off x="5575680" y="1639439"/>
              <a:ext cx="0" cy="5411881"/>
            </a:xfrm>
            <a:prstGeom prst="line">
              <a:avLst/>
            </a:prstGeom>
            <a:noFill/>
            <a:ln w="9360">
              <a:solidFill>
                <a:srgbClr val="909090"/>
              </a:solidFill>
              <a:prstDash val="solid"/>
              <a:miter/>
            </a:ln>
          </p:spPr>
          <p:txBody>
            <a:bodyPr vert="horz" wrap="square" lIns="90000" tIns="46800" rIns="90000" bIns="46800" anchor="t" anchorCtr="0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18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Tahoma" pitchFamily="2"/>
              </a:endParaRPr>
            </a:p>
          </p:txBody>
        </p:sp>
        <p:sp>
          <p:nvSpPr>
            <p:cNvPr id="67" name="Straight Connector 66"/>
            <p:cNvSpPr/>
            <p:nvPr/>
          </p:nvSpPr>
          <p:spPr>
            <a:xfrm>
              <a:off x="7077240" y="1639439"/>
              <a:ext cx="0" cy="5411881"/>
            </a:xfrm>
            <a:prstGeom prst="line">
              <a:avLst/>
            </a:prstGeom>
            <a:noFill/>
            <a:ln w="9360">
              <a:solidFill>
                <a:srgbClr val="909090"/>
              </a:solidFill>
              <a:prstDash val="solid"/>
              <a:miter/>
            </a:ln>
          </p:spPr>
          <p:txBody>
            <a:bodyPr vert="horz" wrap="square" lIns="90000" tIns="46800" rIns="90000" bIns="46800" anchor="t" anchorCtr="0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18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Tahoma" pitchFamily="2"/>
              </a:endParaRPr>
            </a:p>
          </p:txBody>
        </p:sp>
        <p:sp>
          <p:nvSpPr>
            <p:cNvPr id="68" name="Straight Connector 67"/>
            <p:cNvSpPr/>
            <p:nvPr/>
          </p:nvSpPr>
          <p:spPr>
            <a:xfrm>
              <a:off x="7827119" y="1639439"/>
              <a:ext cx="0" cy="5411881"/>
            </a:xfrm>
            <a:prstGeom prst="line">
              <a:avLst/>
            </a:prstGeom>
            <a:noFill/>
            <a:ln w="9360">
              <a:solidFill>
                <a:srgbClr val="909090"/>
              </a:solidFill>
              <a:prstDash val="solid"/>
              <a:miter/>
            </a:ln>
          </p:spPr>
          <p:txBody>
            <a:bodyPr vert="horz" wrap="square" lIns="90000" tIns="46800" rIns="90000" bIns="46800" anchor="t" anchorCtr="0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18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Tahoma" pitchFamily="2"/>
              </a:endParaRPr>
            </a:p>
          </p:txBody>
        </p:sp>
        <p:sp>
          <p:nvSpPr>
            <p:cNvPr id="69" name="Straight Connector 68"/>
            <p:cNvSpPr/>
            <p:nvPr/>
          </p:nvSpPr>
          <p:spPr>
            <a:xfrm>
              <a:off x="9329040" y="1639439"/>
              <a:ext cx="0" cy="5411881"/>
            </a:xfrm>
            <a:prstGeom prst="line">
              <a:avLst/>
            </a:prstGeom>
            <a:noFill/>
            <a:ln w="9360">
              <a:solidFill>
                <a:srgbClr val="909090"/>
              </a:solidFill>
              <a:prstDash val="solid"/>
              <a:miter/>
            </a:ln>
          </p:spPr>
          <p:txBody>
            <a:bodyPr vert="horz" wrap="square" lIns="90000" tIns="46800" rIns="90000" bIns="46800" anchor="t" anchorCtr="0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18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Tahoma" pitchFamily="2"/>
              </a:endParaRPr>
            </a:p>
          </p:txBody>
        </p:sp>
        <p:sp>
          <p:nvSpPr>
            <p:cNvPr id="70" name="Straight Connector 69"/>
            <p:cNvSpPr/>
            <p:nvPr/>
          </p:nvSpPr>
          <p:spPr>
            <a:xfrm>
              <a:off x="8202240" y="1639439"/>
              <a:ext cx="0" cy="5411881"/>
            </a:xfrm>
            <a:prstGeom prst="line">
              <a:avLst/>
            </a:prstGeom>
            <a:noFill/>
            <a:ln w="9360">
              <a:solidFill>
                <a:srgbClr val="909090"/>
              </a:solidFill>
              <a:prstDash val="solid"/>
              <a:miter/>
            </a:ln>
          </p:spPr>
          <p:txBody>
            <a:bodyPr vert="horz" wrap="square" lIns="90000" tIns="46800" rIns="90000" bIns="46800" anchor="t" anchorCtr="0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18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Tahoma" pitchFamily="2"/>
              </a:endParaRPr>
            </a:p>
          </p:txBody>
        </p:sp>
      </p:grpSp>
      <p:sp>
        <p:nvSpPr>
          <p:cNvPr id="71" name="Freeform 70"/>
          <p:cNvSpPr/>
          <p:nvPr/>
        </p:nvSpPr>
        <p:spPr>
          <a:xfrm>
            <a:off x="520035" y="3297960"/>
            <a:ext cx="1535760" cy="480240"/>
          </a:xfrm>
          <a:custGeom>
            <a:avLst/>
            <a:gdLst>
              <a:gd name="f0" fmla="val 0"/>
              <a:gd name="f1" fmla="val 21600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l" t="t" r="r" b="b"/>
            <a:pathLst>
              <a:path w="21600" h="21600">
                <a:moveTo>
                  <a:pt x="f0" y="f0"/>
                </a:moveTo>
                <a:lnTo>
                  <a:pt x="f1" y="f0"/>
                </a:lnTo>
                <a:lnTo>
                  <a:pt x="f1" y="f1"/>
                </a:lnTo>
                <a:lnTo>
                  <a:pt x="f0" y="f1"/>
                </a:lnTo>
                <a:lnTo>
                  <a:pt x="f0" y="f0"/>
                </a:lnTo>
                <a:close/>
              </a:path>
            </a:pathLst>
          </a:custGeom>
          <a:noFill/>
          <a:ln>
            <a:noFill/>
            <a:prstDash val="solid"/>
          </a:ln>
        </p:spPr>
        <p:txBody>
          <a:bodyPr vert="horz" wrap="square" lIns="0" tIns="0" rIns="0" bIns="0" anchor="ctr" anchorCtr="0" compatLnSpc="0">
            <a:spAutoFit/>
          </a:bodyPr>
          <a:lstStyle/>
          <a:p>
            <a:pPr marL="0" marR="0" lvl="0" indent="0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pl-PL" sz="1400" b="1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Tahoma" pitchFamily="2"/>
              </a:rPr>
              <a:t>Egzaminy standardowe</a:t>
            </a:r>
          </a:p>
        </p:txBody>
      </p:sp>
      <p:sp>
        <p:nvSpPr>
          <p:cNvPr id="72" name="Freeform 71"/>
          <p:cNvSpPr/>
          <p:nvPr/>
        </p:nvSpPr>
        <p:spPr>
          <a:xfrm>
            <a:off x="95595" y="3332520"/>
            <a:ext cx="326520" cy="294480"/>
          </a:xfrm>
          <a:custGeom>
            <a:avLst/>
            <a:gdLst>
              <a:gd name="f0" fmla="val 10800000"/>
              <a:gd name="f1" fmla="val 5400000"/>
              <a:gd name="f2" fmla="val 180"/>
              <a:gd name="f3" fmla="val w"/>
              <a:gd name="f4" fmla="val h"/>
              <a:gd name="f5" fmla="*/ 5419351 1 1725033"/>
              <a:gd name="f6" fmla="*/ 10800 10800 1"/>
              <a:gd name="f7" fmla="+- 0 0 0"/>
              <a:gd name="f8" fmla="+- 0 0 360"/>
              <a:gd name="f9" fmla="val 10800"/>
              <a:gd name="f10" fmla="*/ f3 1 21600"/>
              <a:gd name="f11" fmla="*/ f4 1 21600"/>
              <a:gd name="f12" fmla="*/ 0 f5 1"/>
              <a:gd name="f13" fmla="*/ f7 f0 1"/>
              <a:gd name="f14" fmla="*/ f8 f0 1"/>
              <a:gd name="f15" fmla="*/ 3163 f10 1"/>
              <a:gd name="f16" fmla="*/ 18437 f10 1"/>
              <a:gd name="f17" fmla="*/ 18437 f11 1"/>
              <a:gd name="f18" fmla="*/ 3163 f11 1"/>
              <a:gd name="f19" fmla="*/ f12 1 f2"/>
              <a:gd name="f20" fmla="*/ f13 1 f2"/>
              <a:gd name="f21" fmla="*/ f14 1 f2"/>
              <a:gd name="f22" fmla="*/ 10800 f10 1"/>
              <a:gd name="f23" fmla="*/ 0 f11 1"/>
              <a:gd name="f24" fmla="*/ 0 f10 1"/>
              <a:gd name="f25" fmla="*/ 10800 f11 1"/>
              <a:gd name="f26" fmla="*/ 21600 f11 1"/>
              <a:gd name="f27" fmla="*/ 21600 f10 1"/>
              <a:gd name="f28" fmla="+- 0 0 f19"/>
              <a:gd name="f29" fmla="+- f20 0 f1"/>
              <a:gd name="f30" fmla="+- f21 0 f1"/>
              <a:gd name="f31" fmla="*/ f28 f0 1"/>
              <a:gd name="f32" fmla="+- f30 0 f29"/>
              <a:gd name="f33" fmla="*/ f31 1 f5"/>
              <a:gd name="f34" fmla="+- f33 0 f1"/>
              <a:gd name="f35" fmla="cos 1 f34"/>
              <a:gd name="f36" fmla="sin 1 f34"/>
              <a:gd name="f37" fmla="+- 0 0 f35"/>
              <a:gd name="f38" fmla="+- 0 0 f36"/>
              <a:gd name="f39" fmla="*/ 10800 f37 1"/>
              <a:gd name="f40" fmla="*/ 10800 f38 1"/>
              <a:gd name="f41" fmla="*/ f39 f39 1"/>
              <a:gd name="f42" fmla="*/ f40 f40 1"/>
              <a:gd name="f43" fmla="+- f41 f42 0"/>
              <a:gd name="f44" fmla="sqrt f43"/>
              <a:gd name="f45" fmla="*/ f6 1 f44"/>
              <a:gd name="f46" fmla="*/ f37 f45 1"/>
              <a:gd name="f47" fmla="*/ f38 f45 1"/>
              <a:gd name="f48" fmla="+- 10800 0 f46"/>
              <a:gd name="f49" fmla="+- 10800 0 f47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29">
                <a:pos x="f22" y="f23"/>
              </a:cxn>
              <a:cxn ang="f29">
                <a:pos x="f15" y="f18"/>
              </a:cxn>
              <a:cxn ang="f29">
                <a:pos x="f24" y="f25"/>
              </a:cxn>
              <a:cxn ang="f29">
                <a:pos x="f15" y="f17"/>
              </a:cxn>
              <a:cxn ang="f29">
                <a:pos x="f22" y="f26"/>
              </a:cxn>
              <a:cxn ang="f29">
                <a:pos x="f16" y="f17"/>
              </a:cxn>
              <a:cxn ang="f29">
                <a:pos x="f27" y="f25"/>
              </a:cxn>
              <a:cxn ang="f29">
                <a:pos x="f16" y="f18"/>
              </a:cxn>
            </a:cxnLst>
            <a:rect l="f15" t="f18" r="f16" b="f17"/>
            <a:pathLst>
              <a:path w="21600" h="21600">
                <a:moveTo>
                  <a:pt x="f48" y="f49"/>
                </a:moveTo>
                <a:arcTo wR="f9" hR="f9" stAng="f29" swAng="f32"/>
                <a:close/>
              </a:path>
            </a:pathLst>
          </a:custGeom>
          <a:gradFill>
            <a:gsLst>
              <a:gs pos="0">
                <a:srgbClr val="5E9EFF"/>
              </a:gs>
              <a:gs pos="39999">
                <a:srgbClr val="85C2FF"/>
              </a:gs>
              <a:gs pos="70000">
                <a:srgbClr val="C4D6EB"/>
              </a:gs>
              <a:gs pos="100000">
                <a:srgbClr val="FFEBFA"/>
              </a:gs>
            </a:gsLst>
            <a:lin ang="13500000" scaled="0"/>
          </a:gradFill>
          <a:ln w="9360">
            <a:solidFill>
              <a:srgbClr val="000000"/>
            </a:solidFill>
            <a:prstDash val="solid"/>
            <a:miter/>
          </a:ln>
        </p:spPr>
        <p:txBody>
          <a:bodyPr vert="horz" wrap="square" lIns="0" tIns="0" rIns="0" bIns="0" anchor="ctr" anchorCtr="1" compatLnSpc="0"/>
          <a:lstStyle/>
          <a:p>
            <a:pPr marL="0" marR="0" lvl="0" indent="0" algn="ctr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pl-PL" sz="1200" b="1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Tahoma" pitchFamily="2"/>
              </a:rPr>
              <a:t>3</a:t>
            </a:r>
          </a:p>
        </p:txBody>
      </p:sp>
      <p:grpSp>
        <p:nvGrpSpPr>
          <p:cNvPr id="73" name="Group 72"/>
          <p:cNvGrpSpPr/>
          <p:nvPr/>
        </p:nvGrpSpPr>
        <p:grpSpPr>
          <a:xfrm>
            <a:off x="3455475" y="3146760"/>
            <a:ext cx="1715400" cy="781919"/>
            <a:chOff x="3493800" y="3422160"/>
            <a:chExt cx="1715400" cy="781919"/>
          </a:xfrm>
        </p:grpSpPr>
        <p:sp>
          <p:nvSpPr>
            <p:cNvPr id="74" name="Freeform 73"/>
            <p:cNvSpPr/>
            <p:nvPr/>
          </p:nvSpPr>
          <p:spPr>
            <a:xfrm>
              <a:off x="3493800" y="3422160"/>
              <a:ext cx="1715400" cy="781919"/>
            </a:xfrm>
            <a:custGeom>
              <a:avLst/>
              <a:gdLst>
                <a:gd name="f0" fmla="val 0"/>
                <a:gd name="f1" fmla="val 885"/>
                <a:gd name="f2" fmla="val 474"/>
                <a:gd name="f3" fmla="val 800"/>
                <a:gd name="f4" fmla="val 237"/>
                <a:gd name="f5" fmla="val 85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l" t="t" r="r" b="b"/>
              <a:pathLst>
                <a:path w="885" h="474">
                  <a:moveTo>
                    <a:pt x="f0" y="f0"/>
                  </a:moveTo>
                  <a:lnTo>
                    <a:pt x="f3" y="f0"/>
                  </a:lnTo>
                  <a:lnTo>
                    <a:pt x="f1" y="f4"/>
                  </a:lnTo>
                  <a:lnTo>
                    <a:pt x="f3" y="f2"/>
                  </a:lnTo>
                  <a:lnTo>
                    <a:pt x="f0" y="f2"/>
                  </a:lnTo>
                  <a:lnTo>
                    <a:pt x="f5" y="f4"/>
                  </a:lnTo>
                  <a:lnTo>
                    <a:pt x="f0" y="f0"/>
                  </a:lnTo>
                  <a:close/>
                </a:path>
              </a:pathLst>
            </a:custGeom>
            <a:gradFill>
              <a:gsLst>
                <a:gs pos="0">
                  <a:srgbClr val="5E9EFF"/>
                </a:gs>
                <a:gs pos="39999">
                  <a:srgbClr val="85C2FF"/>
                </a:gs>
                <a:gs pos="70000">
                  <a:srgbClr val="C4D6EB"/>
                </a:gs>
                <a:gs pos="100000">
                  <a:srgbClr val="FFEBFA"/>
                </a:gs>
              </a:gsLst>
              <a:lin ang="13500000" scaled="0"/>
            </a:gradFill>
            <a:ln w="9360">
              <a:solidFill>
                <a:srgbClr val="000000"/>
              </a:solidFill>
              <a:prstDash val="solid"/>
              <a:round/>
            </a:ln>
          </p:spPr>
          <p:txBody>
            <a:bodyPr vert="horz" wrap="none" lIns="90000" tIns="46800" rIns="90000" bIns="46800" anchor="ctr" anchorCtr="0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18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Tahoma" pitchFamily="2"/>
              </a:endParaRPr>
            </a:p>
          </p:txBody>
        </p:sp>
        <p:sp>
          <p:nvSpPr>
            <p:cNvPr id="75" name="Freeform 74"/>
            <p:cNvSpPr/>
            <p:nvPr/>
          </p:nvSpPr>
          <p:spPr>
            <a:xfrm>
              <a:off x="3675599" y="3465000"/>
              <a:ext cx="1400400" cy="674280"/>
            </a:xfrm>
            <a:custGeom>
              <a:avLst/>
              <a:gdLst>
                <a:gd name="f0" fmla="val 0"/>
                <a:gd name="f1" fmla="val 21600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l" t="t" r="r" b="b"/>
              <a:pathLst>
                <a:path w="21600" h="21600">
                  <a:moveTo>
                    <a:pt x="f0" y="f0"/>
                  </a:moveTo>
                  <a:lnTo>
                    <a:pt x="f1" y="f0"/>
                  </a:lnTo>
                  <a:lnTo>
                    <a:pt x="f1" y="f1"/>
                  </a:lnTo>
                  <a:lnTo>
                    <a:pt x="f0" y="f1"/>
                  </a:lnTo>
                  <a:lnTo>
                    <a:pt x="f0" y="f0"/>
                  </a:lnTo>
                  <a:close/>
                </a:path>
              </a:pathLst>
            </a:custGeom>
            <a:gradFill>
              <a:gsLst>
                <a:gs pos="0">
                  <a:srgbClr val="5E9EFF"/>
                </a:gs>
                <a:gs pos="39999">
                  <a:srgbClr val="85C2FF"/>
                </a:gs>
                <a:gs pos="70000">
                  <a:srgbClr val="C4D6EB"/>
                </a:gs>
                <a:gs pos="100000">
                  <a:srgbClr val="FFEBFA"/>
                </a:gs>
              </a:gsLst>
              <a:lin ang="13500000" scaled="0"/>
            </a:gradFill>
            <a:ln>
              <a:noFill/>
              <a:prstDash val="solid"/>
            </a:ln>
          </p:spPr>
          <p:txBody>
            <a:bodyPr vert="horz" wrap="square" lIns="3960" tIns="0" rIns="3960" bIns="0" anchor="ctr" anchorCtr="0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r>
                <a:rPr lang="pl-PL" sz="1200" b="1" i="0" u="none" strike="noStrike" kern="1200" dirty="0">
                  <a:ln>
                    <a:noFill/>
                  </a:ln>
                  <a:latin typeface="Arial" pitchFamily="18"/>
                  <a:ea typeface="Arial Unicode MS" pitchFamily="2"/>
                  <a:cs typeface="Tahoma" pitchFamily="2"/>
                </a:rPr>
                <a:t>Pierwsze podejście</a:t>
              </a:r>
            </a:p>
          </p:txBody>
        </p:sp>
      </p:grpSp>
      <p:grpSp>
        <p:nvGrpSpPr>
          <p:cNvPr id="76" name="Group 75"/>
          <p:cNvGrpSpPr/>
          <p:nvPr/>
        </p:nvGrpSpPr>
        <p:grpSpPr>
          <a:xfrm>
            <a:off x="2161275" y="3146760"/>
            <a:ext cx="1320480" cy="781919"/>
            <a:chOff x="2199600" y="3422160"/>
            <a:chExt cx="1320480" cy="781919"/>
          </a:xfrm>
        </p:grpSpPr>
        <p:sp>
          <p:nvSpPr>
            <p:cNvPr id="77" name="Freeform 76"/>
            <p:cNvSpPr/>
            <p:nvPr/>
          </p:nvSpPr>
          <p:spPr>
            <a:xfrm>
              <a:off x="2199600" y="3422160"/>
              <a:ext cx="1320480" cy="781919"/>
            </a:xfrm>
            <a:custGeom>
              <a:avLst/>
              <a:gdLst>
                <a:gd name="f0" fmla="val 0"/>
                <a:gd name="f1" fmla="val 705"/>
                <a:gd name="f2" fmla="val 474"/>
                <a:gd name="f3" fmla="val 620"/>
                <a:gd name="f4" fmla="val 237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l" t="t" r="r" b="b"/>
              <a:pathLst>
                <a:path w="705" h="474">
                  <a:moveTo>
                    <a:pt x="f0" y="f0"/>
                  </a:moveTo>
                  <a:lnTo>
                    <a:pt x="f3" y="f0"/>
                  </a:lnTo>
                  <a:lnTo>
                    <a:pt x="f1" y="f4"/>
                  </a:lnTo>
                  <a:lnTo>
                    <a:pt x="f3" y="f2"/>
                  </a:lnTo>
                  <a:lnTo>
                    <a:pt x="f0" y="f2"/>
                  </a:lnTo>
                  <a:lnTo>
                    <a:pt x="f0" y="f4"/>
                  </a:lnTo>
                  <a:lnTo>
                    <a:pt x="f0" y="f0"/>
                  </a:lnTo>
                  <a:close/>
                </a:path>
              </a:pathLst>
            </a:custGeom>
            <a:gradFill>
              <a:gsLst>
                <a:gs pos="0">
                  <a:srgbClr val="5E9EFF"/>
                </a:gs>
                <a:gs pos="39999">
                  <a:srgbClr val="85C2FF"/>
                </a:gs>
                <a:gs pos="70000">
                  <a:srgbClr val="C4D6EB"/>
                </a:gs>
                <a:gs pos="100000">
                  <a:srgbClr val="FFEBFA"/>
                </a:gs>
              </a:gsLst>
              <a:lin ang="13500000" scaled="0"/>
            </a:gradFill>
            <a:ln w="9360">
              <a:solidFill>
                <a:srgbClr val="000000"/>
              </a:solidFill>
              <a:prstDash val="solid"/>
              <a:round/>
            </a:ln>
          </p:spPr>
          <p:txBody>
            <a:bodyPr vert="horz" wrap="none" lIns="90000" tIns="46800" rIns="90000" bIns="46800" anchor="ctr" anchorCtr="0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18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Tahoma" pitchFamily="2"/>
              </a:endParaRPr>
            </a:p>
          </p:txBody>
        </p:sp>
        <p:sp>
          <p:nvSpPr>
            <p:cNvPr id="78" name="Freeform 77"/>
            <p:cNvSpPr/>
            <p:nvPr/>
          </p:nvSpPr>
          <p:spPr>
            <a:xfrm>
              <a:off x="2259000" y="3465000"/>
              <a:ext cx="1101600" cy="674280"/>
            </a:xfrm>
            <a:custGeom>
              <a:avLst/>
              <a:gdLst>
                <a:gd name="f0" fmla="val 0"/>
                <a:gd name="f1" fmla="val 21600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l" t="t" r="r" b="b"/>
              <a:pathLst>
                <a:path w="21600" h="21600">
                  <a:moveTo>
                    <a:pt x="f0" y="f0"/>
                  </a:moveTo>
                  <a:lnTo>
                    <a:pt x="f1" y="f0"/>
                  </a:lnTo>
                  <a:lnTo>
                    <a:pt x="f1" y="f1"/>
                  </a:lnTo>
                  <a:lnTo>
                    <a:pt x="f0" y="f1"/>
                  </a:lnTo>
                  <a:lnTo>
                    <a:pt x="f0" y="f0"/>
                  </a:lnTo>
                  <a:close/>
                </a:path>
              </a:pathLst>
            </a:custGeom>
            <a:gradFill>
              <a:gsLst>
                <a:gs pos="0">
                  <a:srgbClr val="5E9EFF"/>
                </a:gs>
                <a:gs pos="39999">
                  <a:srgbClr val="85C2FF"/>
                </a:gs>
                <a:gs pos="70000">
                  <a:srgbClr val="C4D6EB"/>
                </a:gs>
                <a:gs pos="100000">
                  <a:srgbClr val="FFEBFA"/>
                </a:gs>
              </a:gsLst>
              <a:lin ang="13500000" scaled="0"/>
            </a:gradFill>
            <a:ln>
              <a:noFill/>
              <a:prstDash val="solid"/>
            </a:ln>
          </p:spPr>
          <p:txBody>
            <a:bodyPr vert="horz" wrap="square" lIns="3960" tIns="0" rIns="3960" bIns="0" anchor="ctr" anchorCtr="0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r>
                <a:rPr lang="pl-PL" sz="1200" b="1" i="0" u="none" strike="noStrike" kern="1200" dirty="0">
                  <a:ln>
                    <a:noFill/>
                  </a:ln>
                  <a:latin typeface="Arial" pitchFamily="18"/>
                  <a:ea typeface="Arial Unicode MS" pitchFamily="2"/>
                  <a:cs typeface="Tahoma" pitchFamily="2"/>
                </a:rPr>
                <a:t>Przygotowa-nia (Internet, podręczniki)</a:t>
              </a:r>
            </a:p>
          </p:txBody>
        </p:sp>
      </p:grpSp>
      <p:grpSp>
        <p:nvGrpSpPr>
          <p:cNvPr id="79" name="Group 78"/>
          <p:cNvGrpSpPr/>
          <p:nvPr/>
        </p:nvGrpSpPr>
        <p:grpSpPr>
          <a:xfrm>
            <a:off x="5164035" y="3146760"/>
            <a:ext cx="1367280" cy="781919"/>
            <a:chOff x="5202360" y="3422160"/>
            <a:chExt cx="1367280" cy="781919"/>
          </a:xfrm>
        </p:grpSpPr>
        <p:sp>
          <p:nvSpPr>
            <p:cNvPr id="80" name="Freeform 79"/>
            <p:cNvSpPr/>
            <p:nvPr/>
          </p:nvSpPr>
          <p:spPr>
            <a:xfrm>
              <a:off x="5202360" y="3422160"/>
              <a:ext cx="1367280" cy="781919"/>
            </a:xfrm>
            <a:custGeom>
              <a:avLst/>
              <a:gdLst>
                <a:gd name="f0" fmla="val 0"/>
                <a:gd name="f1" fmla="val 885"/>
                <a:gd name="f2" fmla="val 474"/>
                <a:gd name="f3" fmla="val 800"/>
                <a:gd name="f4" fmla="val 237"/>
                <a:gd name="f5" fmla="val 85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l" t="t" r="r" b="b"/>
              <a:pathLst>
                <a:path w="885" h="474">
                  <a:moveTo>
                    <a:pt x="f0" y="f0"/>
                  </a:moveTo>
                  <a:lnTo>
                    <a:pt x="f3" y="f0"/>
                  </a:lnTo>
                  <a:lnTo>
                    <a:pt x="f1" y="f4"/>
                  </a:lnTo>
                  <a:lnTo>
                    <a:pt x="f3" y="f2"/>
                  </a:lnTo>
                  <a:lnTo>
                    <a:pt x="f0" y="f2"/>
                  </a:lnTo>
                  <a:lnTo>
                    <a:pt x="f5" y="f4"/>
                  </a:lnTo>
                  <a:lnTo>
                    <a:pt x="f0" y="f0"/>
                  </a:lnTo>
                  <a:close/>
                </a:path>
              </a:pathLst>
            </a:custGeom>
            <a:gradFill>
              <a:gsLst>
                <a:gs pos="0">
                  <a:srgbClr val="5E9EFF"/>
                </a:gs>
                <a:gs pos="39999">
                  <a:srgbClr val="85C2FF"/>
                </a:gs>
                <a:gs pos="70000">
                  <a:srgbClr val="C4D6EB"/>
                </a:gs>
                <a:gs pos="100000">
                  <a:srgbClr val="FFEBFA"/>
                </a:gs>
              </a:gsLst>
              <a:lin ang="13500000" scaled="0"/>
            </a:gradFill>
            <a:ln w="9360">
              <a:solidFill>
                <a:srgbClr val="000000"/>
              </a:solidFill>
              <a:prstDash val="solid"/>
              <a:round/>
            </a:ln>
          </p:spPr>
          <p:txBody>
            <a:bodyPr vert="horz" wrap="none" lIns="90000" tIns="46800" rIns="90000" bIns="46800" anchor="ctr" anchorCtr="0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18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Tahoma" pitchFamily="2"/>
              </a:endParaRPr>
            </a:p>
          </p:txBody>
        </p:sp>
        <p:sp>
          <p:nvSpPr>
            <p:cNvPr id="81" name="Freeform 80"/>
            <p:cNvSpPr/>
            <p:nvPr/>
          </p:nvSpPr>
          <p:spPr>
            <a:xfrm>
              <a:off x="5347080" y="3465000"/>
              <a:ext cx="1116360" cy="674280"/>
            </a:xfrm>
            <a:custGeom>
              <a:avLst/>
              <a:gdLst>
                <a:gd name="f0" fmla="val 0"/>
                <a:gd name="f1" fmla="val 21600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l" t="t" r="r" b="b"/>
              <a:pathLst>
                <a:path w="21600" h="21600">
                  <a:moveTo>
                    <a:pt x="f0" y="f0"/>
                  </a:moveTo>
                  <a:lnTo>
                    <a:pt x="f1" y="f0"/>
                  </a:lnTo>
                  <a:lnTo>
                    <a:pt x="f1" y="f1"/>
                  </a:lnTo>
                  <a:lnTo>
                    <a:pt x="f0" y="f1"/>
                  </a:lnTo>
                  <a:lnTo>
                    <a:pt x="f0" y="f0"/>
                  </a:lnTo>
                  <a:close/>
                </a:path>
              </a:pathLst>
            </a:custGeom>
            <a:gradFill>
              <a:gsLst>
                <a:gs pos="0">
                  <a:srgbClr val="5E9EFF"/>
                </a:gs>
                <a:gs pos="39999">
                  <a:srgbClr val="85C2FF"/>
                </a:gs>
                <a:gs pos="70000">
                  <a:srgbClr val="C4D6EB"/>
                </a:gs>
                <a:gs pos="100000">
                  <a:srgbClr val="FFEBFA"/>
                </a:gs>
              </a:gsLst>
              <a:lin ang="13500000" scaled="0"/>
            </a:gradFill>
            <a:ln>
              <a:noFill/>
              <a:prstDash val="solid"/>
            </a:ln>
          </p:spPr>
          <p:txBody>
            <a:bodyPr vert="horz" wrap="square" lIns="3960" tIns="0" rIns="3960" bIns="0" anchor="ctr" anchorCtr="0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r>
                <a:rPr lang="pl-PL" sz="1200" b="1" i="0" u="none" strike="noStrike" kern="1200" dirty="0">
                  <a:ln>
                    <a:noFill/>
                  </a:ln>
                  <a:latin typeface="Arial" pitchFamily="18"/>
                  <a:ea typeface="Arial Unicode MS" pitchFamily="2"/>
                  <a:cs typeface="Tahoma" pitchFamily="2"/>
                </a:rPr>
                <a:t>Ewentualne drugie podejście</a:t>
              </a:r>
            </a:p>
          </p:txBody>
        </p:sp>
      </p:grpSp>
      <p:sp>
        <p:nvSpPr>
          <p:cNvPr id="82" name="Freeform 81"/>
          <p:cNvSpPr/>
          <p:nvPr/>
        </p:nvSpPr>
        <p:spPr>
          <a:xfrm>
            <a:off x="520035" y="4278600"/>
            <a:ext cx="1535760" cy="240120"/>
          </a:xfrm>
          <a:custGeom>
            <a:avLst/>
            <a:gdLst>
              <a:gd name="f0" fmla="val 0"/>
              <a:gd name="f1" fmla="val 21600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l" t="t" r="r" b="b"/>
            <a:pathLst>
              <a:path w="21600" h="21600">
                <a:moveTo>
                  <a:pt x="f0" y="f0"/>
                </a:moveTo>
                <a:lnTo>
                  <a:pt x="f1" y="f0"/>
                </a:lnTo>
                <a:lnTo>
                  <a:pt x="f1" y="f1"/>
                </a:lnTo>
                <a:lnTo>
                  <a:pt x="f0" y="f1"/>
                </a:lnTo>
                <a:lnTo>
                  <a:pt x="f0" y="f0"/>
                </a:lnTo>
                <a:close/>
              </a:path>
            </a:pathLst>
          </a:custGeom>
          <a:noFill/>
          <a:ln>
            <a:noFill/>
            <a:prstDash val="solid"/>
          </a:ln>
        </p:spPr>
        <p:txBody>
          <a:bodyPr vert="horz" wrap="square" lIns="0" tIns="0" rIns="0" bIns="0" anchor="ctr" anchorCtr="0" compatLnSpc="0">
            <a:spAutoFit/>
          </a:bodyPr>
          <a:lstStyle/>
          <a:p>
            <a:pPr marL="0" marR="0" lvl="0" indent="0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pl-PL" sz="1400" b="1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Tahoma" pitchFamily="2"/>
              </a:rPr>
              <a:t>Podanie</a:t>
            </a:r>
          </a:p>
        </p:txBody>
      </p:sp>
      <p:sp>
        <p:nvSpPr>
          <p:cNvPr id="83" name="Freeform 82"/>
          <p:cNvSpPr/>
          <p:nvPr/>
        </p:nvSpPr>
        <p:spPr>
          <a:xfrm>
            <a:off x="95595" y="4250520"/>
            <a:ext cx="326520" cy="294840"/>
          </a:xfrm>
          <a:custGeom>
            <a:avLst/>
            <a:gdLst>
              <a:gd name="f0" fmla="val 10800000"/>
              <a:gd name="f1" fmla="val 5400000"/>
              <a:gd name="f2" fmla="val 180"/>
              <a:gd name="f3" fmla="val w"/>
              <a:gd name="f4" fmla="val h"/>
              <a:gd name="f5" fmla="*/ 5419351 1 1725033"/>
              <a:gd name="f6" fmla="*/ 10800 10800 1"/>
              <a:gd name="f7" fmla="+- 0 0 0"/>
              <a:gd name="f8" fmla="+- 0 0 360"/>
              <a:gd name="f9" fmla="val 10800"/>
              <a:gd name="f10" fmla="*/ f3 1 21600"/>
              <a:gd name="f11" fmla="*/ f4 1 21600"/>
              <a:gd name="f12" fmla="*/ 0 f5 1"/>
              <a:gd name="f13" fmla="*/ f7 f0 1"/>
              <a:gd name="f14" fmla="*/ f8 f0 1"/>
              <a:gd name="f15" fmla="*/ 3163 f10 1"/>
              <a:gd name="f16" fmla="*/ 18437 f10 1"/>
              <a:gd name="f17" fmla="*/ 18437 f11 1"/>
              <a:gd name="f18" fmla="*/ 3163 f11 1"/>
              <a:gd name="f19" fmla="*/ f12 1 f2"/>
              <a:gd name="f20" fmla="*/ f13 1 f2"/>
              <a:gd name="f21" fmla="*/ f14 1 f2"/>
              <a:gd name="f22" fmla="*/ 10800 f10 1"/>
              <a:gd name="f23" fmla="*/ 0 f11 1"/>
              <a:gd name="f24" fmla="*/ 0 f10 1"/>
              <a:gd name="f25" fmla="*/ 10800 f11 1"/>
              <a:gd name="f26" fmla="*/ 21600 f11 1"/>
              <a:gd name="f27" fmla="*/ 21600 f10 1"/>
              <a:gd name="f28" fmla="+- 0 0 f19"/>
              <a:gd name="f29" fmla="+- f20 0 f1"/>
              <a:gd name="f30" fmla="+- f21 0 f1"/>
              <a:gd name="f31" fmla="*/ f28 f0 1"/>
              <a:gd name="f32" fmla="+- f30 0 f29"/>
              <a:gd name="f33" fmla="*/ f31 1 f5"/>
              <a:gd name="f34" fmla="+- f33 0 f1"/>
              <a:gd name="f35" fmla="cos 1 f34"/>
              <a:gd name="f36" fmla="sin 1 f34"/>
              <a:gd name="f37" fmla="+- 0 0 f35"/>
              <a:gd name="f38" fmla="+- 0 0 f36"/>
              <a:gd name="f39" fmla="*/ 10800 f37 1"/>
              <a:gd name="f40" fmla="*/ 10800 f38 1"/>
              <a:gd name="f41" fmla="*/ f39 f39 1"/>
              <a:gd name="f42" fmla="*/ f40 f40 1"/>
              <a:gd name="f43" fmla="+- f41 f42 0"/>
              <a:gd name="f44" fmla="sqrt f43"/>
              <a:gd name="f45" fmla="*/ f6 1 f44"/>
              <a:gd name="f46" fmla="*/ f37 f45 1"/>
              <a:gd name="f47" fmla="*/ f38 f45 1"/>
              <a:gd name="f48" fmla="+- 10800 0 f46"/>
              <a:gd name="f49" fmla="+- 10800 0 f47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29">
                <a:pos x="f22" y="f23"/>
              </a:cxn>
              <a:cxn ang="f29">
                <a:pos x="f15" y="f18"/>
              </a:cxn>
              <a:cxn ang="f29">
                <a:pos x="f24" y="f25"/>
              </a:cxn>
              <a:cxn ang="f29">
                <a:pos x="f15" y="f17"/>
              </a:cxn>
              <a:cxn ang="f29">
                <a:pos x="f22" y="f26"/>
              </a:cxn>
              <a:cxn ang="f29">
                <a:pos x="f16" y="f17"/>
              </a:cxn>
              <a:cxn ang="f29">
                <a:pos x="f27" y="f25"/>
              </a:cxn>
              <a:cxn ang="f29">
                <a:pos x="f16" y="f18"/>
              </a:cxn>
            </a:cxnLst>
            <a:rect l="f15" t="f18" r="f16" b="f17"/>
            <a:pathLst>
              <a:path w="21600" h="21600">
                <a:moveTo>
                  <a:pt x="f48" y="f49"/>
                </a:moveTo>
                <a:arcTo wR="f9" hR="f9" stAng="f29" swAng="f32"/>
                <a:close/>
              </a:path>
            </a:pathLst>
          </a:custGeom>
          <a:gradFill>
            <a:gsLst>
              <a:gs pos="0">
                <a:srgbClr val="5E9EFF"/>
              </a:gs>
              <a:gs pos="39999">
                <a:srgbClr val="85C2FF"/>
              </a:gs>
              <a:gs pos="70000">
                <a:srgbClr val="C4D6EB"/>
              </a:gs>
              <a:gs pos="100000">
                <a:srgbClr val="FFEBFA"/>
              </a:gs>
            </a:gsLst>
            <a:lin ang="13500000" scaled="0"/>
          </a:gradFill>
          <a:ln w="9360">
            <a:solidFill>
              <a:srgbClr val="000000"/>
            </a:solidFill>
            <a:prstDash val="solid"/>
            <a:miter/>
          </a:ln>
        </p:spPr>
        <p:txBody>
          <a:bodyPr vert="horz" wrap="square" lIns="0" tIns="0" rIns="0" bIns="0" anchor="ctr" anchorCtr="1" compatLnSpc="0"/>
          <a:lstStyle/>
          <a:p>
            <a:pPr marL="0" marR="0" lvl="0" indent="0" algn="ctr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pl-PL" sz="1200" b="1" i="0" u="none" strike="noStrike" kern="1200" dirty="0">
                <a:ln>
                  <a:noFill/>
                </a:ln>
                <a:latin typeface="Arial" pitchFamily="18"/>
                <a:ea typeface="Arial Unicode MS" pitchFamily="2"/>
                <a:cs typeface="Tahoma" pitchFamily="2"/>
              </a:rPr>
              <a:t>4</a:t>
            </a:r>
          </a:p>
        </p:txBody>
      </p:sp>
      <p:grpSp>
        <p:nvGrpSpPr>
          <p:cNvPr id="84" name="Group 83"/>
          <p:cNvGrpSpPr/>
          <p:nvPr/>
        </p:nvGrpSpPr>
        <p:grpSpPr>
          <a:xfrm>
            <a:off x="5160435" y="4002120"/>
            <a:ext cx="1004760" cy="782280"/>
            <a:chOff x="5198760" y="4277520"/>
            <a:chExt cx="1004760" cy="782280"/>
          </a:xfrm>
        </p:grpSpPr>
        <p:sp>
          <p:nvSpPr>
            <p:cNvPr id="85" name="Freeform 84"/>
            <p:cNvSpPr/>
            <p:nvPr/>
          </p:nvSpPr>
          <p:spPr>
            <a:xfrm>
              <a:off x="5198760" y="4277520"/>
              <a:ext cx="1004760" cy="782280"/>
            </a:xfrm>
            <a:custGeom>
              <a:avLst/>
              <a:gdLst>
                <a:gd name="f0" fmla="val 0"/>
                <a:gd name="f1" fmla="val 519"/>
                <a:gd name="f2" fmla="val 438"/>
                <a:gd name="f3" fmla="val 440"/>
                <a:gd name="f4" fmla="val 219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l" t="t" r="r" b="b"/>
              <a:pathLst>
                <a:path w="519" h="438">
                  <a:moveTo>
                    <a:pt x="f0" y="f0"/>
                  </a:moveTo>
                  <a:lnTo>
                    <a:pt x="f3" y="f0"/>
                  </a:lnTo>
                  <a:lnTo>
                    <a:pt x="f1" y="f4"/>
                  </a:lnTo>
                  <a:lnTo>
                    <a:pt x="f3" y="f2"/>
                  </a:lnTo>
                  <a:lnTo>
                    <a:pt x="f0" y="f2"/>
                  </a:lnTo>
                  <a:lnTo>
                    <a:pt x="f0" y="f4"/>
                  </a:lnTo>
                  <a:lnTo>
                    <a:pt x="f0" y="f0"/>
                  </a:lnTo>
                  <a:close/>
                </a:path>
              </a:pathLst>
            </a:custGeom>
            <a:gradFill>
              <a:gsLst>
                <a:gs pos="0">
                  <a:srgbClr val="5E9EFF"/>
                </a:gs>
                <a:gs pos="39999">
                  <a:srgbClr val="85C2FF"/>
                </a:gs>
                <a:gs pos="70000">
                  <a:srgbClr val="C4D6EB"/>
                </a:gs>
                <a:gs pos="100000">
                  <a:srgbClr val="FFEBFA"/>
                </a:gs>
              </a:gsLst>
              <a:lin ang="13500000" scaled="0"/>
            </a:gradFill>
            <a:ln w="9360">
              <a:solidFill>
                <a:srgbClr val="000000"/>
              </a:solidFill>
              <a:prstDash val="solid"/>
              <a:round/>
            </a:ln>
          </p:spPr>
          <p:txBody>
            <a:bodyPr vert="horz" wrap="none" lIns="90000" tIns="46800" rIns="90000" bIns="46800" anchor="ctr" anchorCtr="0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18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Tahoma" pitchFamily="2"/>
              </a:endParaRPr>
            </a:p>
          </p:txBody>
        </p:sp>
        <p:sp>
          <p:nvSpPr>
            <p:cNvPr id="86" name="Freeform 85"/>
            <p:cNvSpPr/>
            <p:nvPr/>
          </p:nvSpPr>
          <p:spPr>
            <a:xfrm>
              <a:off x="5260680" y="4320360"/>
              <a:ext cx="790200" cy="675000"/>
            </a:xfrm>
            <a:custGeom>
              <a:avLst/>
              <a:gdLst>
                <a:gd name="f0" fmla="val 0"/>
                <a:gd name="f1" fmla="val 21600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l" t="t" r="r" b="b"/>
              <a:pathLst>
                <a:path w="21600" h="21600">
                  <a:moveTo>
                    <a:pt x="f0" y="f0"/>
                  </a:moveTo>
                  <a:lnTo>
                    <a:pt x="f1" y="f0"/>
                  </a:lnTo>
                  <a:lnTo>
                    <a:pt x="f1" y="f1"/>
                  </a:lnTo>
                  <a:lnTo>
                    <a:pt x="f0" y="f1"/>
                  </a:lnTo>
                  <a:lnTo>
                    <a:pt x="f0" y="f0"/>
                  </a:lnTo>
                  <a:close/>
                </a:path>
              </a:pathLst>
            </a:custGeom>
            <a:gradFill>
              <a:gsLst>
                <a:gs pos="0">
                  <a:srgbClr val="5E9EFF"/>
                </a:gs>
                <a:gs pos="39999">
                  <a:srgbClr val="85C2FF"/>
                </a:gs>
                <a:gs pos="70000">
                  <a:srgbClr val="C4D6EB"/>
                </a:gs>
                <a:gs pos="100000">
                  <a:srgbClr val="FFEBFA"/>
                </a:gs>
              </a:gsLst>
              <a:lin ang="13500000" scaled="0"/>
            </a:gradFill>
            <a:ln>
              <a:noFill/>
              <a:prstDash val="solid"/>
            </a:ln>
          </p:spPr>
          <p:txBody>
            <a:bodyPr vert="horz" wrap="square" lIns="3960" tIns="0" rIns="3960" bIns="0" anchor="ctr" anchorCtr="0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r>
                <a:rPr lang="pl-PL" sz="1200" b="1" i="0" u="none" strike="noStrike" kern="1200" dirty="0">
                  <a:ln>
                    <a:noFill/>
                  </a:ln>
                  <a:latin typeface="Arial" pitchFamily="18"/>
                  <a:ea typeface="Arial Unicode MS" pitchFamily="2"/>
                  <a:cs typeface="Tahoma" pitchFamily="2"/>
                </a:rPr>
                <a:t>Podanie (Early Decision)</a:t>
              </a:r>
            </a:p>
          </p:txBody>
        </p:sp>
      </p:grpSp>
      <p:grpSp>
        <p:nvGrpSpPr>
          <p:cNvPr id="87" name="Group 86"/>
          <p:cNvGrpSpPr/>
          <p:nvPr/>
        </p:nvGrpSpPr>
        <p:grpSpPr>
          <a:xfrm>
            <a:off x="6063314" y="3997080"/>
            <a:ext cx="1504800" cy="782280"/>
            <a:chOff x="6101639" y="4272480"/>
            <a:chExt cx="1504800" cy="782280"/>
          </a:xfrm>
        </p:grpSpPr>
        <p:sp>
          <p:nvSpPr>
            <p:cNvPr id="88" name="Freeform 87"/>
            <p:cNvSpPr/>
            <p:nvPr/>
          </p:nvSpPr>
          <p:spPr>
            <a:xfrm>
              <a:off x="6101639" y="4272480"/>
              <a:ext cx="1504800" cy="782280"/>
            </a:xfrm>
            <a:custGeom>
              <a:avLst/>
              <a:gdLst>
                <a:gd name="f0" fmla="val 0"/>
                <a:gd name="f1" fmla="val 603"/>
                <a:gd name="f2" fmla="val 438"/>
                <a:gd name="f3" fmla="val 524"/>
                <a:gd name="f4" fmla="val 219"/>
                <a:gd name="f5" fmla="val 79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l" t="t" r="r" b="b"/>
              <a:pathLst>
                <a:path w="603" h="438">
                  <a:moveTo>
                    <a:pt x="f0" y="f0"/>
                  </a:moveTo>
                  <a:lnTo>
                    <a:pt x="f3" y="f0"/>
                  </a:lnTo>
                  <a:lnTo>
                    <a:pt x="f1" y="f4"/>
                  </a:lnTo>
                  <a:lnTo>
                    <a:pt x="f3" y="f2"/>
                  </a:lnTo>
                  <a:lnTo>
                    <a:pt x="f0" y="f2"/>
                  </a:lnTo>
                  <a:lnTo>
                    <a:pt x="f5" y="f4"/>
                  </a:lnTo>
                  <a:lnTo>
                    <a:pt x="f0" y="f0"/>
                  </a:lnTo>
                  <a:close/>
                </a:path>
              </a:pathLst>
            </a:custGeom>
            <a:gradFill>
              <a:gsLst>
                <a:gs pos="0">
                  <a:srgbClr val="5E9EFF"/>
                </a:gs>
                <a:gs pos="39999">
                  <a:srgbClr val="85C2FF"/>
                </a:gs>
                <a:gs pos="70000">
                  <a:srgbClr val="C4D6EB"/>
                </a:gs>
                <a:gs pos="100000">
                  <a:srgbClr val="FFEBFA"/>
                </a:gs>
              </a:gsLst>
              <a:lin ang="13500000" scaled="0"/>
            </a:gradFill>
            <a:ln w="9360">
              <a:solidFill>
                <a:srgbClr val="000000"/>
              </a:solidFill>
              <a:prstDash val="solid"/>
              <a:round/>
            </a:ln>
          </p:spPr>
          <p:txBody>
            <a:bodyPr vert="horz" wrap="none" lIns="90000" tIns="46800" rIns="90000" bIns="46800" anchor="ctr" anchorCtr="0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18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Tahoma" pitchFamily="2"/>
              </a:endParaRPr>
            </a:p>
          </p:txBody>
        </p:sp>
        <p:sp>
          <p:nvSpPr>
            <p:cNvPr id="89" name="Freeform 88"/>
            <p:cNvSpPr/>
            <p:nvPr/>
          </p:nvSpPr>
          <p:spPr>
            <a:xfrm>
              <a:off x="6378480" y="4315320"/>
              <a:ext cx="1030319" cy="675360"/>
            </a:xfrm>
            <a:custGeom>
              <a:avLst/>
              <a:gdLst>
                <a:gd name="f0" fmla="val 0"/>
                <a:gd name="f1" fmla="val 21600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l" t="t" r="r" b="b"/>
              <a:pathLst>
                <a:path w="21600" h="21600">
                  <a:moveTo>
                    <a:pt x="f0" y="f0"/>
                  </a:moveTo>
                  <a:lnTo>
                    <a:pt x="f1" y="f0"/>
                  </a:lnTo>
                  <a:lnTo>
                    <a:pt x="f1" y="f1"/>
                  </a:lnTo>
                  <a:lnTo>
                    <a:pt x="f0" y="f1"/>
                  </a:lnTo>
                  <a:lnTo>
                    <a:pt x="f0" y="f0"/>
                  </a:lnTo>
                  <a:close/>
                </a:path>
              </a:pathLst>
            </a:custGeom>
            <a:gradFill>
              <a:gsLst>
                <a:gs pos="0">
                  <a:srgbClr val="5E9EFF"/>
                </a:gs>
                <a:gs pos="39999">
                  <a:srgbClr val="85C2FF"/>
                </a:gs>
                <a:gs pos="70000">
                  <a:srgbClr val="C4D6EB"/>
                </a:gs>
                <a:gs pos="100000">
                  <a:srgbClr val="FFEBFA"/>
                </a:gs>
              </a:gsLst>
              <a:lin ang="13500000" scaled="0"/>
            </a:gradFill>
            <a:ln>
              <a:noFill/>
              <a:prstDash val="solid"/>
            </a:ln>
          </p:spPr>
          <p:txBody>
            <a:bodyPr vert="horz" wrap="square" lIns="3960" tIns="0" rIns="3960" bIns="0" anchor="ctr" anchorCtr="0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r>
                <a:rPr lang="pl-PL" sz="1200" b="1" i="0" u="none" strike="noStrike" kern="1200" dirty="0">
                  <a:ln>
                    <a:noFill/>
                  </a:ln>
                  <a:latin typeface="Arial" pitchFamily="18"/>
                  <a:ea typeface="Arial Unicode MS" pitchFamily="2"/>
                  <a:cs typeface="Tahoma" pitchFamily="2"/>
                </a:rPr>
                <a:t>Podanie (regularny termin)</a:t>
              </a:r>
            </a:p>
          </p:txBody>
        </p:sp>
      </p:grpSp>
      <p:sp>
        <p:nvSpPr>
          <p:cNvPr id="90" name="Freeform 89"/>
          <p:cNvSpPr/>
          <p:nvPr/>
        </p:nvSpPr>
        <p:spPr>
          <a:xfrm>
            <a:off x="520035" y="4897800"/>
            <a:ext cx="1535760" cy="720000"/>
          </a:xfrm>
          <a:custGeom>
            <a:avLst/>
            <a:gdLst>
              <a:gd name="f0" fmla="val 0"/>
              <a:gd name="f1" fmla="val 21600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l" t="t" r="r" b="b"/>
            <a:pathLst>
              <a:path w="21600" h="21600">
                <a:moveTo>
                  <a:pt x="f0" y="f0"/>
                </a:moveTo>
                <a:lnTo>
                  <a:pt x="f1" y="f0"/>
                </a:lnTo>
                <a:lnTo>
                  <a:pt x="f1" y="f1"/>
                </a:lnTo>
                <a:lnTo>
                  <a:pt x="f0" y="f1"/>
                </a:lnTo>
                <a:lnTo>
                  <a:pt x="f0" y="f0"/>
                </a:lnTo>
                <a:close/>
              </a:path>
            </a:pathLst>
          </a:custGeom>
          <a:noFill/>
          <a:ln>
            <a:noFill/>
            <a:prstDash val="solid"/>
          </a:ln>
        </p:spPr>
        <p:txBody>
          <a:bodyPr vert="horz" wrap="square" lIns="0" tIns="0" rIns="0" bIns="0" anchor="ctr" anchorCtr="0" compatLnSpc="0">
            <a:spAutoFit/>
          </a:bodyPr>
          <a:lstStyle/>
          <a:p>
            <a:pPr marL="0" marR="0" lvl="0" indent="0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pl-PL" sz="1400" b="1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Tahoma" pitchFamily="2"/>
              </a:rPr>
              <a:t>Wybór szkoły i złożenie depozytu</a:t>
            </a:r>
          </a:p>
        </p:txBody>
      </p:sp>
      <p:sp>
        <p:nvSpPr>
          <p:cNvPr id="91" name="Freeform 90"/>
          <p:cNvSpPr/>
          <p:nvPr/>
        </p:nvSpPr>
        <p:spPr>
          <a:xfrm>
            <a:off x="95595" y="5052600"/>
            <a:ext cx="326520" cy="294840"/>
          </a:xfrm>
          <a:custGeom>
            <a:avLst/>
            <a:gdLst>
              <a:gd name="f0" fmla="val 10800000"/>
              <a:gd name="f1" fmla="val 5400000"/>
              <a:gd name="f2" fmla="val 180"/>
              <a:gd name="f3" fmla="val w"/>
              <a:gd name="f4" fmla="val h"/>
              <a:gd name="f5" fmla="*/ 5419351 1 1725033"/>
              <a:gd name="f6" fmla="*/ 10800 10800 1"/>
              <a:gd name="f7" fmla="+- 0 0 0"/>
              <a:gd name="f8" fmla="+- 0 0 360"/>
              <a:gd name="f9" fmla="val 10800"/>
              <a:gd name="f10" fmla="*/ f3 1 21600"/>
              <a:gd name="f11" fmla="*/ f4 1 21600"/>
              <a:gd name="f12" fmla="*/ 0 f5 1"/>
              <a:gd name="f13" fmla="*/ f7 f0 1"/>
              <a:gd name="f14" fmla="*/ f8 f0 1"/>
              <a:gd name="f15" fmla="*/ 3163 f10 1"/>
              <a:gd name="f16" fmla="*/ 18437 f10 1"/>
              <a:gd name="f17" fmla="*/ 18437 f11 1"/>
              <a:gd name="f18" fmla="*/ 3163 f11 1"/>
              <a:gd name="f19" fmla="*/ f12 1 f2"/>
              <a:gd name="f20" fmla="*/ f13 1 f2"/>
              <a:gd name="f21" fmla="*/ f14 1 f2"/>
              <a:gd name="f22" fmla="*/ 10800 f10 1"/>
              <a:gd name="f23" fmla="*/ 0 f11 1"/>
              <a:gd name="f24" fmla="*/ 0 f10 1"/>
              <a:gd name="f25" fmla="*/ 10800 f11 1"/>
              <a:gd name="f26" fmla="*/ 21600 f11 1"/>
              <a:gd name="f27" fmla="*/ 21600 f10 1"/>
              <a:gd name="f28" fmla="+- 0 0 f19"/>
              <a:gd name="f29" fmla="+- f20 0 f1"/>
              <a:gd name="f30" fmla="+- f21 0 f1"/>
              <a:gd name="f31" fmla="*/ f28 f0 1"/>
              <a:gd name="f32" fmla="+- f30 0 f29"/>
              <a:gd name="f33" fmla="*/ f31 1 f5"/>
              <a:gd name="f34" fmla="+- f33 0 f1"/>
              <a:gd name="f35" fmla="cos 1 f34"/>
              <a:gd name="f36" fmla="sin 1 f34"/>
              <a:gd name="f37" fmla="+- 0 0 f35"/>
              <a:gd name="f38" fmla="+- 0 0 f36"/>
              <a:gd name="f39" fmla="*/ 10800 f37 1"/>
              <a:gd name="f40" fmla="*/ 10800 f38 1"/>
              <a:gd name="f41" fmla="*/ f39 f39 1"/>
              <a:gd name="f42" fmla="*/ f40 f40 1"/>
              <a:gd name="f43" fmla="+- f41 f42 0"/>
              <a:gd name="f44" fmla="sqrt f43"/>
              <a:gd name="f45" fmla="*/ f6 1 f44"/>
              <a:gd name="f46" fmla="*/ f37 f45 1"/>
              <a:gd name="f47" fmla="*/ f38 f45 1"/>
              <a:gd name="f48" fmla="+- 10800 0 f46"/>
              <a:gd name="f49" fmla="+- 10800 0 f47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29">
                <a:pos x="f22" y="f23"/>
              </a:cxn>
              <a:cxn ang="f29">
                <a:pos x="f15" y="f18"/>
              </a:cxn>
              <a:cxn ang="f29">
                <a:pos x="f24" y="f25"/>
              </a:cxn>
              <a:cxn ang="f29">
                <a:pos x="f15" y="f17"/>
              </a:cxn>
              <a:cxn ang="f29">
                <a:pos x="f22" y="f26"/>
              </a:cxn>
              <a:cxn ang="f29">
                <a:pos x="f16" y="f17"/>
              </a:cxn>
              <a:cxn ang="f29">
                <a:pos x="f27" y="f25"/>
              </a:cxn>
              <a:cxn ang="f29">
                <a:pos x="f16" y="f18"/>
              </a:cxn>
            </a:cxnLst>
            <a:rect l="f15" t="f18" r="f16" b="f17"/>
            <a:pathLst>
              <a:path w="21600" h="21600">
                <a:moveTo>
                  <a:pt x="f48" y="f49"/>
                </a:moveTo>
                <a:arcTo wR="f9" hR="f9" stAng="f29" swAng="f32"/>
                <a:close/>
              </a:path>
            </a:pathLst>
          </a:custGeom>
          <a:gradFill>
            <a:gsLst>
              <a:gs pos="0">
                <a:srgbClr val="5E9EFF"/>
              </a:gs>
              <a:gs pos="39999">
                <a:srgbClr val="85C2FF"/>
              </a:gs>
              <a:gs pos="70000">
                <a:srgbClr val="C4D6EB"/>
              </a:gs>
              <a:gs pos="100000">
                <a:srgbClr val="FFEBFA"/>
              </a:gs>
            </a:gsLst>
            <a:lin ang="13500000" scaled="0"/>
          </a:gradFill>
          <a:ln w="9360">
            <a:solidFill>
              <a:srgbClr val="000000"/>
            </a:solidFill>
            <a:prstDash val="solid"/>
            <a:miter/>
          </a:ln>
        </p:spPr>
        <p:txBody>
          <a:bodyPr vert="horz" wrap="square" lIns="0" tIns="0" rIns="0" bIns="0" anchor="ctr" anchorCtr="1" compatLnSpc="0"/>
          <a:lstStyle/>
          <a:p>
            <a:pPr marL="0" marR="0" lvl="0" indent="0" algn="ctr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pl-PL" sz="1200" b="1" i="0" u="none" strike="noStrike" kern="1200" dirty="0">
                <a:ln>
                  <a:noFill/>
                </a:ln>
                <a:latin typeface="Arial" pitchFamily="18"/>
                <a:ea typeface="Arial Unicode MS" pitchFamily="2"/>
                <a:cs typeface="Tahoma" pitchFamily="2"/>
              </a:rPr>
              <a:t>5</a:t>
            </a:r>
          </a:p>
        </p:txBody>
      </p:sp>
      <p:grpSp>
        <p:nvGrpSpPr>
          <p:cNvPr id="92" name="Group 91"/>
          <p:cNvGrpSpPr/>
          <p:nvPr/>
        </p:nvGrpSpPr>
        <p:grpSpPr>
          <a:xfrm>
            <a:off x="7790234" y="4834440"/>
            <a:ext cx="1139760" cy="813960"/>
            <a:chOff x="7828559" y="5109840"/>
            <a:chExt cx="1139760" cy="813960"/>
          </a:xfrm>
        </p:grpSpPr>
        <p:sp>
          <p:nvSpPr>
            <p:cNvPr id="93" name="Freeform 92"/>
            <p:cNvSpPr/>
            <p:nvPr/>
          </p:nvSpPr>
          <p:spPr>
            <a:xfrm>
              <a:off x="7828559" y="5109840"/>
              <a:ext cx="1139760" cy="813960"/>
            </a:xfrm>
            <a:custGeom>
              <a:avLst/>
              <a:gdLst>
                <a:gd name="f0" fmla="val 0"/>
                <a:gd name="f1" fmla="val 609"/>
                <a:gd name="f2" fmla="val 438"/>
                <a:gd name="f3" fmla="val 530"/>
                <a:gd name="f4" fmla="val 219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l" t="t" r="r" b="b"/>
              <a:pathLst>
                <a:path w="609" h="438">
                  <a:moveTo>
                    <a:pt x="f0" y="f0"/>
                  </a:moveTo>
                  <a:lnTo>
                    <a:pt x="f3" y="f0"/>
                  </a:lnTo>
                  <a:lnTo>
                    <a:pt x="f1" y="f4"/>
                  </a:lnTo>
                  <a:lnTo>
                    <a:pt x="f3" y="f2"/>
                  </a:lnTo>
                  <a:lnTo>
                    <a:pt x="f0" y="f2"/>
                  </a:lnTo>
                  <a:lnTo>
                    <a:pt x="f0" y="f4"/>
                  </a:lnTo>
                  <a:lnTo>
                    <a:pt x="f0" y="f0"/>
                  </a:lnTo>
                  <a:close/>
                </a:path>
              </a:pathLst>
            </a:custGeom>
            <a:gradFill>
              <a:gsLst>
                <a:gs pos="0">
                  <a:srgbClr val="5E9EFF"/>
                </a:gs>
                <a:gs pos="39999">
                  <a:srgbClr val="85C2FF"/>
                </a:gs>
                <a:gs pos="70000">
                  <a:srgbClr val="C4D6EB"/>
                </a:gs>
                <a:gs pos="100000">
                  <a:srgbClr val="FFEBFA"/>
                </a:gs>
              </a:gsLst>
              <a:lin ang="13500000" scaled="0"/>
            </a:gradFill>
            <a:ln w="9360">
              <a:solidFill>
                <a:srgbClr val="000000"/>
              </a:solidFill>
              <a:prstDash val="solid"/>
              <a:round/>
            </a:ln>
          </p:spPr>
          <p:txBody>
            <a:bodyPr vert="horz" wrap="none" lIns="90000" tIns="46800" rIns="90000" bIns="46800" anchor="ctr" anchorCtr="0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18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Tahoma" pitchFamily="2"/>
              </a:endParaRPr>
            </a:p>
          </p:txBody>
        </p:sp>
        <p:sp>
          <p:nvSpPr>
            <p:cNvPr id="94" name="Freeform 93"/>
            <p:cNvSpPr/>
            <p:nvPr/>
          </p:nvSpPr>
          <p:spPr>
            <a:xfrm>
              <a:off x="7887960" y="5154120"/>
              <a:ext cx="932759" cy="703440"/>
            </a:xfrm>
            <a:custGeom>
              <a:avLst/>
              <a:gdLst>
                <a:gd name="f0" fmla="val 0"/>
                <a:gd name="f1" fmla="val 21600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l" t="t" r="r" b="b"/>
              <a:pathLst>
                <a:path w="21600" h="21600">
                  <a:moveTo>
                    <a:pt x="f0" y="f0"/>
                  </a:moveTo>
                  <a:lnTo>
                    <a:pt x="f1" y="f0"/>
                  </a:lnTo>
                  <a:lnTo>
                    <a:pt x="f1" y="f1"/>
                  </a:lnTo>
                  <a:lnTo>
                    <a:pt x="f0" y="f1"/>
                  </a:lnTo>
                  <a:lnTo>
                    <a:pt x="f0" y="f0"/>
                  </a:lnTo>
                  <a:close/>
                </a:path>
              </a:pathLst>
            </a:custGeom>
            <a:gradFill>
              <a:gsLst>
                <a:gs pos="0">
                  <a:srgbClr val="5E9EFF"/>
                </a:gs>
                <a:gs pos="39999">
                  <a:srgbClr val="85C2FF"/>
                </a:gs>
                <a:gs pos="70000">
                  <a:srgbClr val="C4D6EB"/>
                </a:gs>
                <a:gs pos="100000">
                  <a:srgbClr val="FFEBFA"/>
                </a:gs>
              </a:gsLst>
              <a:lin ang="13500000" scaled="0"/>
            </a:gradFill>
            <a:ln>
              <a:noFill/>
              <a:prstDash val="solid"/>
            </a:ln>
          </p:spPr>
          <p:txBody>
            <a:bodyPr vert="horz" wrap="square" lIns="3960" tIns="0" rIns="3960" bIns="0" anchor="ctr" anchorCtr="0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r>
                <a:rPr lang="pl-PL" sz="1200" b="1" i="0" u="none" strike="noStrike" kern="1200" dirty="0">
                  <a:ln>
                    <a:noFill/>
                  </a:ln>
                  <a:latin typeface="Arial" pitchFamily="18"/>
                  <a:ea typeface="Arial Unicode MS" pitchFamily="2"/>
                  <a:cs typeface="Tahoma" pitchFamily="2"/>
                </a:rPr>
                <a:t>Odpowie-dzi szkół, porówna-nie ofert</a:t>
              </a:r>
            </a:p>
          </p:txBody>
        </p:sp>
      </p:grpSp>
      <p:sp>
        <p:nvSpPr>
          <p:cNvPr id="95" name="Freeform 94"/>
          <p:cNvSpPr/>
          <p:nvPr/>
        </p:nvSpPr>
        <p:spPr>
          <a:xfrm>
            <a:off x="520035" y="5841360"/>
            <a:ext cx="1535760" cy="240120"/>
          </a:xfrm>
          <a:custGeom>
            <a:avLst/>
            <a:gdLst>
              <a:gd name="f0" fmla="val 0"/>
              <a:gd name="f1" fmla="val 21600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l" t="t" r="r" b="b"/>
            <a:pathLst>
              <a:path w="21600" h="21600">
                <a:moveTo>
                  <a:pt x="f0" y="f0"/>
                </a:moveTo>
                <a:lnTo>
                  <a:pt x="f1" y="f0"/>
                </a:lnTo>
                <a:lnTo>
                  <a:pt x="f1" y="f1"/>
                </a:lnTo>
                <a:lnTo>
                  <a:pt x="f0" y="f1"/>
                </a:lnTo>
                <a:lnTo>
                  <a:pt x="f0" y="f0"/>
                </a:lnTo>
                <a:close/>
              </a:path>
            </a:pathLst>
          </a:custGeom>
          <a:noFill/>
          <a:ln>
            <a:noFill/>
            <a:prstDash val="solid"/>
          </a:ln>
        </p:spPr>
        <p:txBody>
          <a:bodyPr vert="horz" wrap="square" lIns="0" tIns="0" rIns="0" bIns="0" anchor="ctr" anchorCtr="0" compatLnSpc="0">
            <a:spAutoFit/>
          </a:bodyPr>
          <a:lstStyle/>
          <a:p>
            <a:pPr marL="0" marR="0" lvl="0" indent="0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pl-PL" sz="1400" b="1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Tahoma" pitchFamily="2"/>
              </a:rPr>
              <a:t>Wiza studencka</a:t>
            </a:r>
          </a:p>
        </p:txBody>
      </p:sp>
      <p:sp>
        <p:nvSpPr>
          <p:cNvPr id="96" name="Freeform 95"/>
          <p:cNvSpPr/>
          <p:nvPr/>
        </p:nvSpPr>
        <p:spPr>
          <a:xfrm>
            <a:off x="95595" y="5813640"/>
            <a:ext cx="326520" cy="294480"/>
          </a:xfrm>
          <a:custGeom>
            <a:avLst/>
            <a:gdLst>
              <a:gd name="f0" fmla="val 10800000"/>
              <a:gd name="f1" fmla="val 5400000"/>
              <a:gd name="f2" fmla="val 180"/>
              <a:gd name="f3" fmla="val w"/>
              <a:gd name="f4" fmla="val h"/>
              <a:gd name="f5" fmla="*/ 5419351 1 1725033"/>
              <a:gd name="f6" fmla="*/ 10800 10800 1"/>
              <a:gd name="f7" fmla="+- 0 0 0"/>
              <a:gd name="f8" fmla="+- 0 0 360"/>
              <a:gd name="f9" fmla="val 10800"/>
              <a:gd name="f10" fmla="*/ f3 1 21600"/>
              <a:gd name="f11" fmla="*/ f4 1 21600"/>
              <a:gd name="f12" fmla="*/ 0 f5 1"/>
              <a:gd name="f13" fmla="*/ f7 f0 1"/>
              <a:gd name="f14" fmla="*/ f8 f0 1"/>
              <a:gd name="f15" fmla="*/ 3163 f10 1"/>
              <a:gd name="f16" fmla="*/ 18437 f10 1"/>
              <a:gd name="f17" fmla="*/ 18437 f11 1"/>
              <a:gd name="f18" fmla="*/ 3163 f11 1"/>
              <a:gd name="f19" fmla="*/ f12 1 f2"/>
              <a:gd name="f20" fmla="*/ f13 1 f2"/>
              <a:gd name="f21" fmla="*/ f14 1 f2"/>
              <a:gd name="f22" fmla="*/ 10800 f10 1"/>
              <a:gd name="f23" fmla="*/ 0 f11 1"/>
              <a:gd name="f24" fmla="*/ 0 f10 1"/>
              <a:gd name="f25" fmla="*/ 10800 f11 1"/>
              <a:gd name="f26" fmla="*/ 21600 f11 1"/>
              <a:gd name="f27" fmla="*/ 21600 f10 1"/>
              <a:gd name="f28" fmla="+- 0 0 f19"/>
              <a:gd name="f29" fmla="+- f20 0 f1"/>
              <a:gd name="f30" fmla="+- f21 0 f1"/>
              <a:gd name="f31" fmla="*/ f28 f0 1"/>
              <a:gd name="f32" fmla="+- f30 0 f29"/>
              <a:gd name="f33" fmla="*/ f31 1 f5"/>
              <a:gd name="f34" fmla="+- f33 0 f1"/>
              <a:gd name="f35" fmla="cos 1 f34"/>
              <a:gd name="f36" fmla="sin 1 f34"/>
              <a:gd name="f37" fmla="+- 0 0 f35"/>
              <a:gd name="f38" fmla="+- 0 0 f36"/>
              <a:gd name="f39" fmla="*/ 10800 f37 1"/>
              <a:gd name="f40" fmla="*/ 10800 f38 1"/>
              <a:gd name="f41" fmla="*/ f39 f39 1"/>
              <a:gd name="f42" fmla="*/ f40 f40 1"/>
              <a:gd name="f43" fmla="+- f41 f42 0"/>
              <a:gd name="f44" fmla="sqrt f43"/>
              <a:gd name="f45" fmla="*/ f6 1 f44"/>
              <a:gd name="f46" fmla="*/ f37 f45 1"/>
              <a:gd name="f47" fmla="*/ f38 f45 1"/>
              <a:gd name="f48" fmla="+- 10800 0 f46"/>
              <a:gd name="f49" fmla="+- 10800 0 f47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29">
                <a:pos x="f22" y="f23"/>
              </a:cxn>
              <a:cxn ang="f29">
                <a:pos x="f15" y="f18"/>
              </a:cxn>
              <a:cxn ang="f29">
                <a:pos x="f24" y="f25"/>
              </a:cxn>
              <a:cxn ang="f29">
                <a:pos x="f15" y="f17"/>
              </a:cxn>
              <a:cxn ang="f29">
                <a:pos x="f22" y="f26"/>
              </a:cxn>
              <a:cxn ang="f29">
                <a:pos x="f16" y="f17"/>
              </a:cxn>
              <a:cxn ang="f29">
                <a:pos x="f27" y="f25"/>
              </a:cxn>
              <a:cxn ang="f29">
                <a:pos x="f16" y="f18"/>
              </a:cxn>
            </a:cxnLst>
            <a:rect l="f15" t="f18" r="f16" b="f17"/>
            <a:pathLst>
              <a:path w="21600" h="21600">
                <a:moveTo>
                  <a:pt x="f48" y="f49"/>
                </a:moveTo>
                <a:arcTo wR="f9" hR="f9" stAng="f29" swAng="f32"/>
                <a:close/>
              </a:path>
            </a:pathLst>
          </a:custGeom>
          <a:gradFill>
            <a:gsLst>
              <a:gs pos="0">
                <a:srgbClr val="5E9EFF"/>
              </a:gs>
              <a:gs pos="39999">
                <a:srgbClr val="85C2FF"/>
              </a:gs>
              <a:gs pos="70000">
                <a:srgbClr val="C4D6EB"/>
              </a:gs>
              <a:gs pos="100000">
                <a:srgbClr val="FFEBFA"/>
              </a:gs>
            </a:gsLst>
            <a:lin ang="13500000" scaled="0"/>
          </a:gradFill>
          <a:ln w="9360">
            <a:solidFill>
              <a:srgbClr val="000000"/>
            </a:solidFill>
            <a:prstDash val="solid"/>
            <a:miter/>
          </a:ln>
        </p:spPr>
        <p:txBody>
          <a:bodyPr vert="horz" wrap="square" lIns="0" tIns="0" rIns="0" bIns="0" anchor="ctr" anchorCtr="1" compatLnSpc="0"/>
          <a:lstStyle/>
          <a:p>
            <a:pPr marL="0" marR="0" lvl="0" indent="0" algn="ctr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pl-PL" sz="1200" b="1" i="0" u="none" strike="noStrike" kern="1200" dirty="0">
                <a:ln>
                  <a:noFill/>
                </a:ln>
                <a:latin typeface="Arial" pitchFamily="18"/>
                <a:ea typeface="Arial Unicode MS" pitchFamily="2"/>
                <a:cs typeface="Tahoma" pitchFamily="2"/>
              </a:rPr>
              <a:t>6</a:t>
            </a:r>
          </a:p>
        </p:txBody>
      </p:sp>
      <p:grpSp>
        <p:nvGrpSpPr>
          <p:cNvPr id="97" name="Group 96"/>
          <p:cNvGrpSpPr/>
          <p:nvPr/>
        </p:nvGrpSpPr>
        <p:grpSpPr>
          <a:xfrm>
            <a:off x="8907675" y="5726160"/>
            <a:ext cx="501120" cy="471240"/>
            <a:chOff x="8946000" y="6001560"/>
            <a:chExt cx="501120" cy="471240"/>
          </a:xfrm>
        </p:grpSpPr>
        <p:sp>
          <p:nvSpPr>
            <p:cNvPr id="98" name="Freeform 97"/>
            <p:cNvSpPr/>
            <p:nvPr/>
          </p:nvSpPr>
          <p:spPr>
            <a:xfrm>
              <a:off x="8946000" y="6001560"/>
              <a:ext cx="501120" cy="471240"/>
            </a:xfrm>
            <a:custGeom>
              <a:avLst/>
              <a:gdLst>
                <a:gd name="f0" fmla="val 0"/>
                <a:gd name="f1" fmla="val 267"/>
                <a:gd name="f2" fmla="val 264"/>
                <a:gd name="f3" fmla="val 219"/>
                <a:gd name="f4" fmla="val 132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l" t="t" r="r" b="b"/>
              <a:pathLst>
                <a:path w="267" h="264">
                  <a:moveTo>
                    <a:pt x="f0" y="f0"/>
                  </a:moveTo>
                  <a:lnTo>
                    <a:pt x="f3" y="f0"/>
                  </a:lnTo>
                  <a:lnTo>
                    <a:pt x="f1" y="f4"/>
                  </a:lnTo>
                  <a:lnTo>
                    <a:pt x="f3" y="f2"/>
                  </a:lnTo>
                  <a:lnTo>
                    <a:pt x="f0" y="f2"/>
                  </a:lnTo>
                  <a:lnTo>
                    <a:pt x="f0" y="f4"/>
                  </a:lnTo>
                  <a:lnTo>
                    <a:pt x="f0" y="f0"/>
                  </a:lnTo>
                  <a:close/>
                </a:path>
              </a:pathLst>
            </a:custGeom>
            <a:gradFill>
              <a:gsLst>
                <a:gs pos="0">
                  <a:srgbClr val="5E9EFF"/>
                </a:gs>
                <a:gs pos="39999">
                  <a:srgbClr val="85C2FF"/>
                </a:gs>
                <a:gs pos="70000">
                  <a:srgbClr val="C4D6EB"/>
                </a:gs>
                <a:gs pos="100000">
                  <a:srgbClr val="FFEBFA"/>
                </a:gs>
              </a:gsLst>
              <a:lin ang="13500000" scaled="0"/>
            </a:gradFill>
            <a:ln w="9360">
              <a:solidFill>
                <a:srgbClr val="000000"/>
              </a:solidFill>
              <a:prstDash val="solid"/>
              <a:round/>
            </a:ln>
          </p:spPr>
          <p:txBody>
            <a:bodyPr vert="horz" wrap="none" lIns="90000" tIns="46800" rIns="90000" bIns="46800" anchor="ctr" anchorCtr="0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18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Tahoma" pitchFamily="2"/>
              </a:endParaRPr>
            </a:p>
          </p:txBody>
        </p:sp>
        <p:sp>
          <p:nvSpPr>
            <p:cNvPr id="99" name="Freeform 98"/>
            <p:cNvSpPr/>
            <p:nvPr/>
          </p:nvSpPr>
          <p:spPr>
            <a:xfrm>
              <a:off x="9005760" y="6026399"/>
              <a:ext cx="351360" cy="407160"/>
            </a:xfrm>
            <a:custGeom>
              <a:avLst/>
              <a:gdLst>
                <a:gd name="f0" fmla="val 0"/>
                <a:gd name="f1" fmla="val 21600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l" t="t" r="r" b="b"/>
              <a:pathLst>
                <a:path w="21600" h="21600">
                  <a:moveTo>
                    <a:pt x="f0" y="f0"/>
                  </a:moveTo>
                  <a:lnTo>
                    <a:pt x="f1" y="f0"/>
                  </a:lnTo>
                  <a:lnTo>
                    <a:pt x="f1" y="f1"/>
                  </a:lnTo>
                  <a:lnTo>
                    <a:pt x="f0" y="f1"/>
                  </a:lnTo>
                  <a:lnTo>
                    <a:pt x="f0" y="f0"/>
                  </a:lnTo>
                  <a:close/>
                </a:path>
              </a:pathLst>
            </a:custGeom>
            <a:gradFill>
              <a:gsLst>
                <a:gs pos="0">
                  <a:srgbClr val="5E9EFF"/>
                </a:gs>
                <a:gs pos="39999">
                  <a:srgbClr val="85C2FF"/>
                </a:gs>
                <a:gs pos="70000">
                  <a:srgbClr val="C4D6EB"/>
                </a:gs>
                <a:gs pos="100000">
                  <a:srgbClr val="FFEBFA"/>
                </a:gs>
              </a:gsLst>
              <a:lin ang="13500000" scaled="0"/>
            </a:gradFill>
            <a:ln>
              <a:noFill/>
              <a:prstDash val="solid"/>
            </a:ln>
          </p:spPr>
          <p:txBody>
            <a:bodyPr vert="horz" wrap="square" lIns="3960" tIns="0" rIns="3960" bIns="0" anchor="ctr" anchorCtr="0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r>
                <a:rPr lang="pl-PL" sz="1200" b="1" i="0" u="none" strike="noStrike" kern="1200" dirty="0">
                  <a:ln>
                    <a:noFill/>
                  </a:ln>
                  <a:latin typeface="Arial" pitchFamily="18"/>
                  <a:ea typeface="Arial Unicode MS" pitchFamily="2"/>
                  <a:cs typeface="Tahoma" pitchFamily="2"/>
                </a:rPr>
                <a:t>F-1</a:t>
              </a:r>
            </a:p>
          </p:txBody>
        </p:sp>
      </p:grpSp>
      <p:sp>
        <p:nvSpPr>
          <p:cNvPr id="100" name="Freeform 99"/>
          <p:cNvSpPr/>
          <p:nvPr/>
        </p:nvSpPr>
        <p:spPr>
          <a:xfrm>
            <a:off x="520035" y="2562120"/>
            <a:ext cx="1535760" cy="240120"/>
          </a:xfrm>
          <a:custGeom>
            <a:avLst/>
            <a:gdLst>
              <a:gd name="f0" fmla="val 0"/>
              <a:gd name="f1" fmla="val 21600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l" t="t" r="r" b="b"/>
            <a:pathLst>
              <a:path w="21600" h="21600">
                <a:moveTo>
                  <a:pt x="f0" y="f0"/>
                </a:moveTo>
                <a:lnTo>
                  <a:pt x="f1" y="f0"/>
                </a:lnTo>
                <a:lnTo>
                  <a:pt x="f1" y="f1"/>
                </a:lnTo>
                <a:lnTo>
                  <a:pt x="f0" y="f1"/>
                </a:lnTo>
                <a:lnTo>
                  <a:pt x="f0" y="f0"/>
                </a:lnTo>
                <a:close/>
              </a:path>
            </a:pathLst>
          </a:custGeom>
          <a:noFill/>
          <a:ln>
            <a:noFill/>
            <a:prstDash val="solid"/>
          </a:ln>
        </p:spPr>
        <p:txBody>
          <a:bodyPr vert="horz" wrap="square" lIns="0" tIns="0" rIns="0" bIns="0" anchor="ctr" anchorCtr="0" compatLnSpc="0">
            <a:spAutoFit/>
          </a:bodyPr>
          <a:lstStyle/>
          <a:p>
            <a:pPr marL="0" marR="0" lvl="0" indent="0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pl-PL" sz="1400" b="1" i="0" u="none" strike="noStrike" kern="1200" dirty="0">
                <a:ln>
                  <a:noFill/>
                </a:ln>
                <a:latin typeface="Arial" pitchFamily="18"/>
                <a:ea typeface="Arial Unicode MS" pitchFamily="2"/>
                <a:cs typeface="Tahoma" pitchFamily="2"/>
              </a:rPr>
              <a:t>Lista uczelni</a:t>
            </a:r>
          </a:p>
        </p:txBody>
      </p:sp>
      <p:sp>
        <p:nvSpPr>
          <p:cNvPr id="101" name="Freeform 100"/>
          <p:cNvSpPr/>
          <p:nvPr/>
        </p:nvSpPr>
        <p:spPr>
          <a:xfrm>
            <a:off x="95595" y="2534040"/>
            <a:ext cx="326520" cy="294840"/>
          </a:xfrm>
          <a:custGeom>
            <a:avLst/>
            <a:gdLst>
              <a:gd name="f0" fmla="val 10800000"/>
              <a:gd name="f1" fmla="val 5400000"/>
              <a:gd name="f2" fmla="val 180"/>
              <a:gd name="f3" fmla="val w"/>
              <a:gd name="f4" fmla="val h"/>
              <a:gd name="f5" fmla="*/ 5419351 1 1725033"/>
              <a:gd name="f6" fmla="*/ 10800 10800 1"/>
              <a:gd name="f7" fmla="+- 0 0 0"/>
              <a:gd name="f8" fmla="+- 0 0 360"/>
              <a:gd name="f9" fmla="val 10800"/>
              <a:gd name="f10" fmla="*/ f3 1 21600"/>
              <a:gd name="f11" fmla="*/ f4 1 21600"/>
              <a:gd name="f12" fmla="*/ 0 f5 1"/>
              <a:gd name="f13" fmla="*/ f7 f0 1"/>
              <a:gd name="f14" fmla="*/ f8 f0 1"/>
              <a:gd name="f15" fmla="*/ 3163 f10 1"/>
              <a:gd name="f16" fmla="*/ 18437 f10 1"/>
              <a:gd name="f17" fmla="*/ 18437 f11 1"/>
              <a:gd name="f18" fmla="*/ 3163 f11 1"/>
              <a:gd name="f19" fmla="*/ f12 1 f2"/>
              <a:gd name="f20" fmla="*/ f13 1 f2"/>
              <a:gd name="f21" fmla="*/ f14 1 f2"/>
              <a:gd name="f22" fmla="*/ 10800 f10 1"/>
              <a:gd name="f23" fmla="*/ 0 f11 1"/>
              <a:gd name="f24" fmla="*/ 0 f10 1"/>
              <a:gd name="f25" fmla="*/ 10800 f11 1"/>
              <a:gd name="f26" fmla="*/ 21600 f11 1"/>
              <a:gd name="f27" fmla="*/ 21600 f10 1"/>
              <a:gd name="f28" fmla="+- 0 0 f19"/>
              <a:gd name="f29" fmla="+- f20 0 f1"/>
              <a:gd name="f30" fmla="+- f21 0 f1"/>
              <a:gd name="f31" fmla="*/ f28 f0 1"/>
              <a:gd name="f32" fmla="+- f30 0 f29"/>
              <a:gd name="f33" fmla="*/ f31 1 f5"/>
              <a:gd name="f34" fmla="+- f33 0 f1"/>
              <a:gd name="f35" fmla="cos 1 f34"/>
              <a:gd name="f36" fmla="sin 1 f34"/>
              <a:gd name="f37" fmla="+- 0 0 f35"/>
              <a:gd name="f38" fmla="+- 0 0 f36"/>
              <a:gd name="f39" fmla="*/ 10800 f37 1"/>
              <a:gd name="f40" fmla="*/ 10800 f38 1"/>
              <a:gd name="f41" fmla="*/ f39 f39 1"/>
              <a:gd name="f42" fmla="*/ f40 f40 1"/>
              <a:gd name="f43" fmla="+- f41 f42 0"/>
              <a:gd name="f44" fmla="sqrt f43"/>
              <a:gd name="f45" fmla="*/ f6 1 f44"/>
              <a:gd name="f46" fmla="*/ f37 f45 1"/>
              <a:gd name="f47" fmla="*/ f38 f45 1"/>
              <a:gd name="f48" fmla="+- 10800 0 f46"/>
              <a:gd name="f49" fmla="+- 10800 0 f47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29">
                <a:pos x="f22" y="f23"/>
              </a:cxn>
              <a:cxn ang="f29">
                <a:pos x="f15" y="f18"/>
              </a:cxn>
              <a:cxn ang="f29">
                <a:pos x="f24" y="f25"/>
              </a:cxn>
              <a:cxn ang="f29">
                <a:pos x="f15" y="f17"/>
              </a:cxn>
              <a:cxn ang="f29">
                <a:pos x="f22" y="f26"/>
              </a:cxn>
              <a:cxn ang="f29">
                <a:pos x="f16" y="f17"/>
              </a:cxn>
              <a:cxn ang="f29">
                <a:pos x="f27" y="f25"/>
              </a:cxn>
              <a:cxn ang="f29">
                <a:pos x="f16" y="f18"/>
              </a:cxn>
            </a:cxnLst>
            <a:rect l="f15" t="f18" r="f16" b="f17"/>
            <a:pathLst>
              <a:path w="21600" h="21600">
                <a:moveTo>
                  <a:pt x="f48" y="f49"/>
                </a:moveTo>
                <a:arcTo wR="f9" hR="f9" stAng="f29" swAng="f32"/>
                <a:close/>
              </a:path>
            </a:pathLst>
          </a:custGeom>
          <a:gradFill>
            <a:gsLst>
              <a:gs pos="0">
                <a:srgbClr val="5E9EFF"/>
              </a:gs>
              <a:gs pos="39999">
                <a:srgbClr val="85C2FF"/>
              </a:gs>
              <a:gs pos="70000">
                <a:srgbClr val="C4D6EB"/>
              </a:gs>
              <a:gs pos="100000">
                <a:srgbClr val="FFEBFA"/>
              </a:gs>
            </a:gsLst>
            <a:lin ang="13500000" scaled="0"/>
          </a:gradFill>
          <a:ln w="9360">
            <a:solidFill>
              <a:srgbClr val="000000"/>
            </a:solidFill>
            <a:prstDash val="solid"/>
            <a:miter/>
          </a:ln>
        </p:spPr>
        <p:txBody>
          <a:bodyPr vert="horz" wrap="square" lIns="0" tIns="0" rIns="0" bIns="0" anchor="ctr" anchorCtr="1" compatLnSpc="0"/>
          <a:lstStyle/>
          <a:p>
            <a:pPr marL="0" marR="0" lvl="0" indent="0" algn="ctr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pl-PL" sz="1200" b="1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Tahoma" pitchFamily="2"/>
              </a:rPr>
              <a:t>2</a:t>
            </a:r>
          </a:p>
        </p:txBody>
      </p:sp>
      <p:grpSp>
        <p:nvGrpSpPr>
          <p:cNvPr id="102" name="Group 101"/>
          <p:cNvGrpSpPr/>
          <p:nvPr/>
        </p:nvGrpSpPr>
        <p:grpSpPr>
          <a:xfrm>
            <a:off x="2910795" y="2292840"/>
            <a:ext cx="1988280" cy="776880"/>
            <a:chOff x="2949120" y="2568240"/>
            <a:chExt cx="1988280" cy="776880"/>
          </a:xfrm>
        </p:grpSpPr>
        <p:sp>
          <p:nvSpPr>
            <p:cNvPr id="103" name="Freeform 102"/>
            <p:cNvSpPr/>
            <p:nvPr/>
          </p:nvSpPr>
          <p:spPr>
            <a:xfrm>
              <a:off x="2949120" y="2568240"/>
              <a:ext cx="1988280" cy="776880"/>
            </a:xfrm>
            <a:custGeom>
              <a:avLst/>
              <a:gdLst>
                <a:gd name="f0" fmla="val 0"/>
                <a:gd name="f1" fmla="val 1061"/>
                <a:gd name="f2" fmla="val 435"/>
                <a:gd name="f3" fmla="val 983"/>
                <a:gd name="f4" fmla="val 218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l" t="t" r="r" b="b"/>
              <a:pathLst>
                <a:path w="1061" h="435">
                  <a:moveTo>
                    <a:pt x="f0" y="f0"/>
                  </a:moveTo>
                  <a:lnTo>
                    <a:pt x="f3" y="f0"/>
                  </a:lnTo>
                  <a:lnTo>
                    <a:pt x="f1" y="f4"/>
                  </a:lnTo>
                  <a:lnTo>
                    <a:pt x="f3" y="f2"/>
                  </a:lnTo>
                  <a:lnTo>
                    <a:pt x="f0" y="f2"/>
                  </a:lnTo>
                  <a:lnTo>
                    <a:pt x="f0" y="f4"/>
                  </a:lnTo>
                  <a:lnTo>
                    <a:pt x="f0" y="f0"/>
                  </a:lnTo>
                  <a:close/>
                </a:path>
              </a:pathLst>
            </a:custGeom>
            <a:gradFill>
              <a:gsLst>
                <a:gs pos="0">
                  <a:srgbClr val="5E9EFF"/>
                </a:gs>
                <a:gs pos="39999">
                  <a:srgbClr val="85C2FF"/>
                </a:gs>
                <a:gs pos="70000">
                  <a:srgbClr val="C4D6EB"/>
                </a:gs>
                <a:gs pos="100000">
                  <a:srgbClr val="FFEBFA"/>
                </a:gs>
              </a:gsLst>
              <a:lin ang="13500000" scaled="0"/>
            </a:gradFill>
            <a:ln w="9360">
              <a:solidFill>
                <a:srgbClr val="000000"/>
              </a:solidFill>
              <a:prstDash val="solid"/>
              <a:round/>
            </a:ln>
          </p:spPr>
          <p:txBody>
            <a:bodyPr vert="horz" wrap="none" lIns="90000" tIns="46800" rIns="90000" bIns="46800" anchor="ctr" anchorCtr="0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18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Tahoma" pitchFamily="2"/>
              </a:endParaRPr>
            </a:p>
          </p:txBody>
        </p:sp>
        <p:sp>
          <p:nvSpPr>
            <p:cNvPr id="104" name="Freeform 103"/>
            <p:cNvSpPr/>
            <p:nvPr/>
          </p:nvSpPr>
          <p:spPr>
            <a:xfrm>
              <a:off x="3008880" y="2610720"/>
              <a:ext cx="1782360" cy="669600"/>
            </a:xfrm>
            <a:custGeom>
              <a:avLst/>
              <a:gdLst>
                <a:gd name="f0" fmla="val 0"/>
                <a:gd name="f1" fmla="val 21600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l" t="t" r="r" b="b"/>
              <a:pathLst>
                <a:path w="21600" h="21600">
                  <a:moveTo>
                    <a:pt x="f0" y="f0"/>
                  </a:moveTo>
                  <a:lnTo>
                    <a:pt x="f1" y="f0"/>
                  </a:lnTo>
                  <a:lnTo>
                    <a:pt x="f1" y="f1"/>
                  </a:lnTo>
                  <a:lnTo>
                    <a:pt x="f0" y="f1"/>
                  </a:lnTo>
                  <a:lnTo>
                    <a:pt x="f0" y="f0"/>
                  </a:lnTo>
                  <a:close/>
                </a:path>
              </a:pathLst>
            </a:custGeom>
            <a:gradFill>
              <a:gsLst>
                <a:gs pos="0">
                  <a:srgbClr val="5E9EFF"/>
                </a:gs>
                <a:gs pos="39999">
                  <a:srgbClr val="85C2FF"/>
                </a:gs>
                <a:gs pos="70000">
                  <a:srgbClr val="C4D6EB"/>
                </a:gs>
                <a:gs pos="100000">
                  <a:srgbClr val="FFEBFA"/>
                </a:gs>
              </a:gsLst>
              <a:lin ang="13500000" scaled="0"/>
            </a:gradFill>
            <a:ln>
              <a:noFill/>
              <a:prstDash val="solid"/>
            </a:ln>
          </p:spPr>
          <p:txBody>
            <a:bodyPr vert="horz" wrap="square" lIns="3960" tIns="0" rIns="3960" bIns="0" anchor="ctr" anchorCtr="0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r>
                <a:rPr lang="pl-PL" sz="1200" b="1" i="0" u="none" strike="noStrike" kern="1200">
                  <a:ln>
                    <a:noFill/>
                  </a:ln>
                  <a:latin typeface="Arial" pitchFamily="18"/>
                  <a:ea typeface="Arial Unicode MS" pitchFamily="2"/>
                  <a:cs typeface="Tahoma" pitchFamily="2"/>
                </a:rPr>
                <a:t>„Krótka lista”, </a:t>
              </a:r>
              <a:br>
                <a:rPr lang="pl-PL" sz="1200" b="1" i="0" u="none" strike="noStrike" kern="1200">
                  <a:ln>
                    <a:noFill/>
                  </a:ln>
                  <a:latin typeface="Arial" pitchFamily="18"/>
                  <a:ea typeface="Arial Unicode MS" pitchFamily="2"/>
                  <a:cs typeface="Tahoma" pitchFamily="2"/>
                </a:rPr>
              </a:br>
              <a:r>
                <a:rPr lang="pl-PL" sz="1200" b="1" i="0" u="none" strike="noStrike" kern="1200">
                  <a:ln>
                    <a:noFill/>
                  </a:ln>
                  <a:latin typeface="Arial" pitchFamily="18"/>
                  <a:ea typeface="Arial Unicode MS" pitchFamily="2"/>
                  <a:cs typeface="Tahoma" pitchFamily="2"/>
                </a:rPr>
                <a:t>5-7 uczelni</a:t>
              </a:r>
            </a:p>
          </p:txBody>
        </p:sp>
      </p:grpSp>
      <p:sp>
        <p:nvSpPr>
          <p:cNvPr id="105" name="Freeform 104"/>
          <p:cNvSpPr/>
          <p:nvPr/>
        </p:nvSpPr>
        <p:spPr>
          <a:xfrm>
            <a:off x="520035" y="1586880"/>
            <a:ext cx="1535760" cy="480240"/>
          </a:xfrm>
          <a:custGeom>
            <a:avLst/>
            <a:gdLst>
              <a:gd name="f0" fmla="val 0"/>
              <a:gd name="f1" fmla="val 21600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l" t="t" r="r" b="b"/>
            <a:pathLst>
              <a:path w="21600" h="21600">
                <a:moveTo>
                  <a:pt x="f0" y="f0"/>
                </a:moveTo>
                <a:lnTo>
                  <a:pt x="f1" y="f0"/>
                </a:lnTo>
                <a:lnTo>
                  <a:pt x="f1" y="f1"/>
                </a:lnTo>
                <a:lnTo>
                  <a:pt x="f0" y="f1"/>
                </a:lnTo>
                <a:lnTo>
                  <a:pt x="f0" y="f0"/>
                </a:lnTo>
                <a:close/>
              </a:path>
            </a:pathLst>
          </a:custGeom>
          <a:noFill/>
          <a:ln>
            <a:noFill/>
            <a:prstDash val="solid"/>
          </a:ln>
        </p:spPr>
        <p:txBody>
          <a:bodyPr vert="horz" wrap="square" lIns="0" tIns="0" rIns="0" bIns="0" anchor="ctr" anchorCtr="0" compatLnSpc="0">
            <a:spAutoFit/>
          </a:bodyPr>
          <a:lstStyle/>
          <a:p>
            <a:pPr marL="0" marR="0" lvl="0" indent="0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pl-PL" sz="1400" b="1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Tahoma" pitchFamily="2"/>
              </a:rPr>
              <a:t>Wstępne rozpoznanie</a:t>
            </a:r>
          </a:p>
        </p:txBody>
      </p:sp>
      <p:sp>
        <p:nvSpPr>
          <p:cNvPr id="106" name="Freeform 105"/>
          <p:cNvSpPr/>
          <p:nvPr/>
        </p:nvSpPr>
        <p:spPr>
          <a:xfrm>
            <a:off x="95595" y="1621440"/>
            <a:ext cx="326520" cy="294840"/>
          </a:xfrm>
          <a:custGeom>
            <a:avLst/>
            <a:gdLst>
              <a:gd name="f0" fmla="val 10800000"/>
              <a:gd name="f1" fmla="val 5400000"/>
              <a:gd name="f2" fmla="val 180"/>
              <a:gd name="f3" fmla="val w"/>
              <a:gd name="f4" fmla="val h"/>
              <a:gd name="f5" fmla="*/ 5419351 1 1725033"/>
              <a:gd name="f6" fmla="*/ 10800 10800 1"/>
              <a:gd name="f7" fmla="+- 0 0 0"/>
              <a:gd name="f8" fmla="+- 0 0 360"/>
              <a:gd name="f9" fmla="val 10800"/>
              <a:gd name="f10" fmla="*/ f3 1 21600"/>
              <a:gd name="f11" fmla="*/ f4 1 21600"/>
              <a:gd name="f12" fmla="*/ 0 f5 1"/>
              <a:gd name="f13" fmla="*/ f7 f0 1"/>
              <a:gd name="f14" fmla="*/ f8 f0 1"/>
              <a:gd name="f15" fmla="*/ 3163 f10 1"/>
              <a:gd name="f16" fmla="*/ 18437 f10 1"/>
              <a:gd name="f17" fmla="*/ 18437 f11 1"/>
              <a:gd name="f18" fmla="*/ 3163 f11 1"/>
              <a:gd name="f19" fmla="*/ f12 1 f2"/>
              <a:gd name="f20" fmla="*/ f13 1 f2"/>
              <a:gd name="f21" fmla="*/ f14 1 f2"/>
              <a:gd name="f22" fmla="*/ 10800 f10 1"/>
              <a:gd name="f23" fmla="*/ 0 f11 1"/>
              <a:gd name="f24" fmla="*/ 0 f10 1"/>
              <a:gd name="f25" fmla="*/ 10800 f11 1"/>
              <a:gd name="f26" fmla="*/ 21600 f11 1"/>
              <a:gd name="f27" fmla="*/ 21600 f10 1"/>
              <a:gd name="f28" fmla="+- 0 0 f19"/>
              <a:gd name="f29" fmla="+- f20 0 f1"/>
              <a:gd name="f30" fmla="+- f21 0 f1"/>
              <a:gd name="f31" fmla="*/ f28 f0 1"/>
              <a:gd name="f32" fmla="+- f30 0 f29"/>
              <a:gd name="f33" fmla="*/ f31 1 f5"/>
              <a:gd name="f34" fmla="+- f33 0 f1"/>
              <a:gd name="f35" fmla="cos 1 f34"/>
              <a:gd name="f36" fmla="sin 1 f34"/>
              <a:gd name="f37" fmla="+- 0 0 f35"/>
              <a:gd name="f38" fmla="+- 0 0 f36"/>
              <a:gd name="f39" fmla="*/ 10800 f37 1"/>
              <a:gd name="f40" fmla="*/ 10800 f38 1"/>
              <a:gd name="f41" fmla="*/ f39 f39 1"/>
              <a:gd name="f42" fmla="*/ f40 f40 1"/>
              <a:gd name="f43" fmla="+- f41 f42 0"/>
              <a:gd name="f44" fmla="sqrt f43"/>
              <a:gd name="f45" fmla="*/ f6 1 f44"/>
              <a:gd name="f46" fmla="*/ f37 f45 1"/>
              <a:gd name="f47" fmla="*/ f38 f45 1"/>
              <a:gd name="f48" fmla="+- 10800 0 f46"/>
              <a:gd name="f49" fmla="+- 10800 0 f47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29">
                <a:pos x="f22" y="f23"/>
              </a:cxn>
              <a:cxn ang="f29">
                <a:pos x="f15" y="f18"/>
              </a:cxn>
              <a:cxn ang="f29">
                <a:pos x="f24" y="f25"/>
              </a:cxn>
              <a:cxn ang="f29">
                <a:pos x="f15" y="f17"/>
              </a:cxn>
              <a:cxn ang="f29">
                <a:pos x="f22" y="f26"/>
              </a:cxn>
              <a:cxn ang="f29">
                <a:pos x="f16" y="f17"/>
              </a:cxn>
              <a:cxn ang="f29">
                <a:pos x="f27" y="f25"/>
              </a:cxn>
              <a:cxn ang="f29">
                <a:pos x="f16" y="f18"/>
              </a:cxn>
            </a:cxnLst>
            <a:rect l="f15" t="f18" r="f16" b="f17"/>
            <a:pathLst>
              <a:path w="21600" h="21600">
                <a:moveTo>
                  <a:pt x="f48" y="f49"/>
                </a:moveTo>
                <a:arcTo wR="f9" hR="f9" stAng="f29" swAng="f32"/>
                <a:close/>
              </a:path>
            </a:pathLst>
          </a:custGeom>
          <a:gradFill>
            <a:gsLst>
              <a:gs pos="0">
                <a:srgbClr val="5E9EFF"/>
              </a:gs>
              <a:gs pos="39999">
                <a:srgbClr val="85C2FF"/>
              </a:gs>
              <a:gs pos="70000">
                <a:srgbClr val="C4D6EB"/>
              </a:gs>
              <a:gs pos="100000">
                <a:srgbClr val="FFEBFA"/>
              </a:gs>
            </a:gsLst>
            <a:lin ang="13500000" scaled="0"/>
          </a:gradFill>
          <a:ln w="9360">
            <a:solidFill>
              <a:srgbClr val="000000"/>
            </a:solidFill>
            <a:prstDash val="solid"/>
            <a:miter/>
          </a:ln>
        </p:spPr>
        <p:txBody>
          <a:bodyPr vert="horz" wrap="square" lIns="0" tIns="0" rIns="0" bIns="0" anchor="ctr" anchorCtr="1" compatLnSpc="0"/>
          <a:lstStyle/>
          <a:p>
            <a:pPr marL="0" marR="0" lvl="0" indent="0" algn="ctr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r>
              <a:rPr lang="pl-PL" sz="1200" b="1" i="0" u="none" strike="noStrike" kern="1200" dirty="0">
                <a:ln>
                  <a:noFill/>
                </a:ln>
                <a:latin typeface="Arial" pitchFamily="18"/>
                <a:ea typeface="Arial Unicode MS" pitchFamily="2"/>
                <a:cs typeface="Tahoma" pitchFamily="2"/>
              </a:rPr>
              <a:t>1</a:t>
            </a:r>
          </a:p>
        </p:txBody>
      </p:sp>
      <p:grpSp>
        <p:nvGrpSpPr>
          <p:cNvPr id="107" name="Group 106"/>
          <p:cNvGrpSpPr/>
          <p:nvPr/>
        </p:nvGrpSpPr>
        <p:grpSpPr>
          <a:xfrm>
            <a:off x="2161275" y="1437480"/>
            <a:ext cx="2066760" cy="778320"/>
            <a:chOff x="2199600" y="1712880"/>
            <a:chExt cx="2066760" cy="778320"/>
          </a:xfrm>
        </p:grpSpPr>
        <p:sp>
          <p:nvSpPr>
            <p:cNvPr id="108" name="Freeform 107"/>
            <p:cNvSpPr/>
            <p:nvPr/>
          </p:nvSpPr>
          <p:spPr>
            <a:xfrm>
              <a:off x="2199600" y="1712880"/>
              <a:ext cx="2066760" cy="778320"/>
            </a:xfrm>
            <a:custGeom>
              <a:avLst/>
              <a:gdLst>
                <a:gd name="f0" fmla="val 0"/>
                <a:gd name="f1" fmla="val 1103"/>
                <a:gd name="f2" fmla="val 436"/>
                <a:gd name="f3" fmla="val 1025"/>
                <a:gd name="f4" fmla="val 218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l" t="t" r="r" b="b"/>
              <a:pathLst>
                <a:path w="1103" h="436">
                  <a:moveTo>
                    <a:pt x="f0" y="f0"/>
                  </a:moveTo>
                  <a:lnTo>
                    <a:pt x="f3" y="f0"/>
                  </a:lnTo>
                  <a:lnTo>
                    <a:pt x="f1" y="f4"/>
                  </a:lnTo>
                  <a:lnTo>
                    <a:pt x="f3" y="f2"/>
                  </a:lnTo>
                  <a:lnTo>
                    <a:pt x="f0" y="f2"/>
                  </a:lnTo>
                  <a:lnTo>
                    <a:pt x="f0" y="f4"/>
                  </a:lnTo>
                  <a:lnTo>
                    <a:pt x="f0" y="f0"/>
                  </a:lnTo>
                  <a:close/>
                </a:path>
              </a:pathLst>
            </a:custGeom>
            <a:gradFill>
              <a:gsLst>
                <a:gs pos="0">
                  <a:srgbClr val="5E9EFF"/>
                </a:gs>
                <a:gs pos="39999">
                  <a:srgbClr val="85C2FF"/>
                </a:gs>
                <a:gs pos="70000">
                  <a:srgbClr val="C4D6EB"/>
                </a:gs>
                <a:gs pos="100000">
                  <a:srgbClr val="FFEBFA"/>
                </a:gs>
              </a:gsLst>
              <a:lin ang="13500000" scaled="0"/>
            </a:gradFill>
            <a:ln w="9360">
              <a:solidFill>
                <a:srgbClr val="000000"/>
              </a:solidFill>
              <a:prstDash val="solid"/>
              <a:round/>
            </a:ln>
          </p:spPr>
          <p:txBody>
            <a:bodyPr vert="horz" wrap="none" lIns="90000" tIns="46800" rIns="90000" bIns="46800" anchor="ctr" anchorCtr="0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endParaRPr lang="en-US" sz="1800" b="0" i="0" u="none" strike="noStrike" kern="1200">
                <a:ln>
                  <a:noFill/>
                </a:ln>
                <a:latin typeface="Arial" pitchFamily="18"/>
                <a:ea typeface="Arial Unicode MS" pitchFamily="2"/>
                <a:cs typeface="Tahoma" pitchFamily="2"/>
              </a:endParaRPr>
            </a:p>
          </p:txBody>
        </p:sp>
        <p:sp>
          <p:nvSpPr>
            <p:cNvPr id="109" name="Freeform 108"/>
            <p:cNvSpPr/>
            <p:nvPr/>
          </p:nvSpPr>
          <p:spPr>
            <a:xfrm>
              <a:off x="2259360" y="1757160"/>
              <a:ext cx="1860839" cy="669960"/>
            </a:xfrm>
            <a:custGeom>
              <a:avLst/>
              <a:gdLst>
                <a:gd name="f0" fmla="val 0"/>
                <a:gd name="f1" fmla="val 21600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l" t="t" r="r" b="b"/>
              <a:pathLst>
                <a:path w="21600" h="21600">
                  <a:moveTo>
                    <a:pt x="f0" y="f0"/>
                  </a:moveTo>
                  <a:lnTo>
                    <a:pt x="f1" y="f0"/>
                  </a:lnTo>
                  <a:lnTo>
                    <a:pt x="f1" y="f1"/>
                  </a:lnTo>
                  <a:lnTo>
                    <a:pt x="f0" y="f1"/>
                  </a:lnTo>
                  <a:lnTo>
                    <a:pt x="f0" y="f0"/>
                  </a:lnTo>
                  <a:close/>
                </a:path>
              </a:pathLst>
            </a:custGeom>
            <a:gradFill>
              <a:gsLst>
                <a:gs pos="0">
                  <a:srgbClr val="5E9EFF"/>
                </a:gs>
                <a:gs pos="39999">
                  <a:srgbClr val="85C2FF"/>
                </a:gs>
                <a:gs pos="70000">
                  <a:srgbClr val="C4D6EB"/>
                </a:gs>
                <a:gs pos="100000">
                  <a:srgbClr val="FFEBFA"/>
                </a:gs>
              </a:gsLst>
              <a:lin ang="13500000" scaled="0"/>
            </a:gradFill>
            <a:ln>
              <a:noFill/>
              <a:prstDash val="solid"/>
            </a:ln>
          </p:spPr>
          <p:txBody>
            <a:bodyPr vert="horz" wrap="square" lIns="3960" tIns="0" rIns="3960" bIns="0" anchor="ctr" anchorCtr="0" compatLnSpc="0"/>
            <a:lstStyle/>
            <a:p>
              <a:pPr marL="0" marR="0" lvl="0" indent="0" rtl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</a:pPr>
              <a:r>
                <a:rPr lang="pl-PL" sz="1200" b="1" i="0" u="none" strike="noStrike" kern="1200" dirty="0">
                  <a:ln>
                    <a:noFill/>
                  </a:ln>
                  <a:latin typeface="Arial" pitchFamily="18"/>
                  <a:ea typeface="Arial Unicode MS" pitchFamily="2"/>
                  <a:cs typeface="Tahoma" pitchFamily="2"/>
                </a:rPr>
                <a:t>Internet, przewodniki, rozmowy wstępne, lista uczelni</a:t>
              </a:r>
            </a:p>
          </p:txBody>
        </p:sp>
      </p:grpSp>
      <p:sp>
        <p:nvSpPr>
          <p:cNvPr id="110" name="Straight Connector 109"/>
          <p:cNvSpPr/>
          <p:nvPr/>
        </p:nvSpPr>
        <p:spPr>
          <a:xfrm>
            <a:off x="3662115" y="1437119"/>
            <a:ext cx="417960" cy="0"/>
          </a:xfrm>
          <a:prstGeom prst="line">
            <a:avLst/>
          </a:prstGeom>
          <a:noFill/>
          <a:ln w="12600">
            <a:solidFill>
              <a:srgbClr val="FF9900"/>
            </a:solidFill>
            <a:custDash>
              <a:ds d="402857" sp="100000"/>
            </a:custDash>
            <a:miter/>
          </a:ln>
        </p:spPr>
        <p:txBody>
          <a:bodyPr vert="horz" wrap="square" lIns="90000" tIns="46800" rIns="90000" bIns="46800" anchor="t" anchorCtr="0" compatLnSpc="0"/>
          <a:lstStyle/>
          <a:p>
            <a:pPr marL="0" marR="0" lvl="0" indent="0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endParaRPr lang="en-US" sz="1800" b="0" i="0" u="none" strike="noStrike" kern="1200">
              <a:ln>
                <a:noFill/>
              </a:ln>
              <a:latin typeface="Arial" pitchFamily="18"/>
              <a:ea typeface="Arial Unicode MS" pitchFamily="2"/>
              <a:cs typeface="Tahoma" pitchFamily="2"/>
            </a:endParaRPr>
          </a:p>
        </p:txBody>
      </p:sp>
      <p:sp>
        <p:nvSpPr>
          <p:cNvPr id="111" name="Straight Connector 110"/>
          <p:cNvSpPr/>
          <p:nvPr/>
        </p:nvSpPr>
        <p:spPr>
          <a:xfrm>
            <a:off x="3662115" y="2216160"/>
            <a:ext cx="417960" cy="0"/>
          </a:xfrm>
          <a:prstGeom prst="line">
            <a:avLst/>
          </a:prstGeom>
          <a:noFill/>
          <a:ln w="12600">
            <a:solidFill>
              <a:srgbClr val="FF9900"/>
            </a:solidFill>
            <a:custDash>
              <a:ds d="402857" sp="100000"/>
            </a:custDash>
            <a:miter/>
          </a:ln>
        </p:spPr>
        <p:txBody>
          <a:bodyPr vert="horz" wrap="square" lIns="90000" tIns="46800" rIns="90000" bIns="46800" anchor="t" anchorCtr="0" compatLnSpc="0"/>
          <a:lstStyle/>
          <a:p>
            <a:pPr marL="0" marR="0" lvl="0" indent="0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endParaRPr lang="en-US" sz="1800" b="0" i="0" u="none" strike="noStrike" kern="1200">
              <a:ln>
                <a:noFill/>
              </a:ln>
              <a:latin typeface="Arial" pitchFamily="18"/>
              <a:ea typeface="Arial Unicode MS" pitchFamily="2"/>
              <a:cs typeface="Tahoma" pitchFamily="2"/>
            </a:endParaRPr>
          </a:p>
        </p:txBody>
      </p:sp>
      <p:sp>
        <p:nvSpPr>
          <p:cNvPr id="112" name="Straight Connector 111"/>
          <p:cNvSpPr/>
          <p:nvPr/>
        </p:nvSpPr>
        <p:spPr>
          <a:xfrm>
            <a:off x="4042635" y="2292840"/>
            <a:ext cx="712080" cy="0"/>
          </a:xfrm>
          <a:prstGeom prst="line">
            <a:avLst/>
          </a:prstGeom>
          <a:noFill/>
          <a:ln w="12600">
            <a:solidFill>
              <a:srgbClr val="FF9900"/>
            </a:solidFill>
            <a:custDash>
              <a:ds d="402857" sp="100000"/>
            </a:custDash>
            <a:miter/>
          </a:ln>
        </p:spPr>
        <p:txBody>
          <a:bodyPr vert="horz" wrap="square" lIns="90000" tIns="46800" rIns="90000" bIns="46800" anchor="t" anchorCtr="0" compatLnSpc="0"/>
          <a:lstStyle/>
          <a:p>
            <a:pPr marL="0" marR="0" lvl="0" indent="0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endParaRPr lang="en-US" sz="1800" b="0" i="0" u="none" strike="noStrike" kern="1200">
              <a:ln>
                <a:noFill/>
              </a:ln>
              <a:latin typeface="Arial" pitchFamily="18"/>
              <a:ea typeface="Arial Unicode MS" pitchFamily="2"/>
              <a:cs typeface="Tahoma" pitchFamily="2"/>
            </a:endParaRPr>
          </a:p>
        </p:txBody>
      </p:sp>
      <p:sp>
        <p:nvSpPr>
          <p:cNvPr id="113" name="Straight Connector 112"/>
          <p:cNvSpPr/>
          <p:nvPr/>
        </p:nvSpPr>
        <p:spPr>
          <a:xfrm>
            <a:off x="4042635" y="3069720"/>
            <a:ext cx="712080" cy="0"/>
          </a:xfrm>
          <a:prstGeom prst="line">
            <a:avLst/>
          </a:prstGeom>
          <a:noFill/>
          <a:ln w="12600">
            <a:solidFill>
              <a:srgbClr val="FF9900"/>
            </a:solidFill>
            <a:custDash>
              <a:ds d="402857" sp="100000"/>
            </a:custDash>
            <a:miter/>
          </a:ln>
        </p:spPr>
        <p:txBody>
          <a:bodyPr vert="horz" wrap="square" lIns="90000" tIns="46800" rIns="90000" bIns="46800" anchor="t" anchorCtr="0" compatLnSpc="0"/>
          <a:lstStyle/>
          <a:p>
            <a:pPr marL="0" marR="0" lvl="0" indent="0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endParaRPr lang="en-US" sz="1800" b="0" i="0" u="none" strike="noStrike" kern="1200">
              <a:ln>
                <a:noFill/>
              </a:ln>
              <a:latin typeface="Arial" pitchFamily="18"/>
              <a:ea typeface="Arial Unicode MS" pitchFamily="2"/>
              <a:cs typeface="Tahoma" pitchFamily="2"/>
            </a:endParaRPr>
          </a:p>
        </p:txBody>
      </p:sp>
    </p:spTree>
    <p:extLst>
      <p:ext uri="{BB962C8B-B14F-4D97-AF65-F5344CB8AC3E}">
        <p14:creationId xmlns:p14="http://schemas.microsoft.com/office/powerpoint/2010/main" val="1505102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 bwMode="auto">
          <a:xfrm>
            <a:off x="-41565" y="0"/>
            <a:ext cx="9144000" cy="9767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13" rIns="0" bIns="45713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marL="548640"/>
            <a:r>
              <a:rPr lang="en-US" sz="4000" dirty="0" smtClean="0"/>
              <a:t>* </a:t>
            </a:r>
            <a:r>
              <a:rPr lang="pl-PL" sz="5400" dirty="0" smtClean="0"/>
              <a:t>Koszt</a:t>
            </a:r>
            <a:endParaRPr lang="en-US" sz="5400" dirty="0"/>
          </a:p>
        </p:txBody>
      </p:sp>
      <p:sp>
        <p:nvSpPr>
          <p:cNvPr id="3" name="TextBox 2"/>
          <p:cNvSpPr txBox="1"/>
          <p:nvPr/>
        </p:nvSpPr>
        <p:spPr>
          <a:xfrm>
            <a:off x="-6927" y="1288473"/>
            <a:ext cx="9116291" cy="2031325"/>
          </a:xfrm>
          <a:prstGeom prst="rect">
            <a:avLst/>
          </a:prstGeom>
          <a:noFill/>
        </p:spPr>
        <p:txBody>
          <a:bodyPr wrap="square" lIns="731520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l-PL" sz="28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Całkowity roczny koszt:</a:t>
            </a:r>
          </a:p>
          <a:p>
            <a:pPr algn="ctr">
              <a:lnSpc>
                <a:spcPct val="150000"/>
              </a:lnSpc>
            </a:pPr>
            <a:r>
              <a:rPr lang="pl-PL" sz="28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	</a:t>
            </a:r>
            <a:r>
              <a:rPr lang="pl-PL" sz="32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$20,000 - $50,000</a:t>
            </a:r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41564" y="3505200"/>
            <a:ext cx="9116291" cy="2539157"/>
          </a:xfrm>
          <a:prstGeom prst="rect">
            <a:avLst/>
          </a:prstGeom>
          <a:noFill/>
        </p:spPr>
        <p:txBody>
          <a:bodyPr wrap="square" lIns="731520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l-PL" sz="28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Najlepsze uczelnie dają do</a:t>
            </a:r>
            <a:r>
              <a:rPr lang="pl-PL" sz="5400" b="1" dirty="0" smtClean="0">
                <a:solidFill>
                  <a:srgbClr val="FF0000"/>
                </a:solidFill>
              </a:rPr>
              <a:t>100% </a:t>
            </a:r>
            <a:r>
              <a:rPr lang="pl-PL" sz="28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stypendia.</a:t>
            </a:r>
          </a:p>
          <a:p>
            <a:pPr>
              <a:lnSpc>
                <a:spcPct val="150000"/>
              </a:lnSpc>
            </a:pPr>
            <a:r>
              <a:rPr lang="pl-PL" sz="28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Need - blind</a:t>
            </a:r>
            <a:endParaRPr lang="pl-PL" sz="3200" b="1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endParaRPr lang="en-US" dirty="0" smtClean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10008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 bwMode="auto">
          <a:xfrm>
            <a:off x="-41565" y="0"/>
            <a:ext cx="9144000" cy="9767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13" rIns="0" bIns="45713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marL="548640"/>
            <a:r>
              <a:rPr lang="en-US" sz="4000" dirty="0" smtClean="0"/>
              <a:t>* </a:t>
            </a:r>
            <a:r>
              <a:rPr lang="pl-PL" sz="5400" dirty="0" smtClean="0"/>
              <a:t>Uwierz w siebie!</a:t>
            </a:r>
            <a:endParaRPr lang="en-US" sz="5400" dirty="0"/>
          </a:p>
        </p:txBody>
      </p:sp>
      <p:sp>
        <p:nvSpPr>
          <p:cNvPr id="3" name="TextBox 2"/>
          <p:cNvSpPr txBox="1"/>
          <p:nvPr/>
        </p:nvSpPr>
        <p:spPr>
          <a:xfrm>
            <a:off x="-6927" y="1288472"/>
            <a:ext cx="9116291" cy="5632311"/>
          </a:xfrm>
          <a:prstGeom prst="rect">
            <a:avLst/>
          </a:prstGeom>
          <a:noFill/>
        </p:spPr>
        <p:txBody>
          <a:bodyPr wrap="square" lIns="91440" rtlCol="0">
            <a:spAutoFit/>
          </a:bodyPr>
          <a:lstStyle/>
          <a:p>
            <a:pPr algn="just"/>
            <a:r>
              <a:rPr lang="en-US" sz="4000" b="1" dirty="0" err="1" smtClean="0">
                <a:solidFill>
                  <a:schemeClr val="bg1">
                    <a:lumMod val="65000"/>
                  </a:schemeClr>
                </a:solidFill>
              </a:rPr>
              <a:t>BrownColumbiaCornellDartmouthHarvardPrincetonUniversity</a:t>
            </a:r>
            <a:r>
              <a:rPr lang="pl-PL" sz="4000" b="1" dirty="0" smtClean="0">
                <a:solidFill>
                  <a:schemeClr val="bg1">
                    <a:lumMod val="65000"/>
                  </a:schemeClr>
                </a:solidFill>
              </a:rPr>
              <a:t>Of</a:t>
            </a:r>
            <a:r>
              <a:rPr lang="en-US" sz="4000" b="1" dirty="0" smtClean="0">
                <a:solidFill>
                  <a:schemeClr val="bg1">
                    <a:lumMod val="65000"/>
                  </a:schemeClr>
                </a:solidFill>
              </a:rPr>
              <a:t>PennsylvaniaYaleAmherstBostonCollegeBostonUniversityCaliforniaInstitute</a:t>
            </a:r>
            <a:r>
              <a:rPr lang="pl-PL" sz="4000" b="1" dirty="0">
                <a:solidFill>
                  <a:schemeClr val="bg1">
                    <a:lumMod val="65000"/>
                  </a:schemeClr>
                </a:solidFill>
              </a:rPr>
              <a:t>O</a:t>
            </a:r>
            <a:r>
              <a:rPr lang="en-US" sz="4000" b="1" dirty="0" smtClean="0">
                <a:solidFill>
                  <a:schemeClr val="bg1">
                    <a:lumMod val="65000"/>
                  </a:schemeClr>
                </a:solidFill>
              </a:rPr>
              <a:t>fTechnologyCarnegieMellonClarkColbyColgateDukeEmoryGeorgeWashingtonUniversityHamiltonCollege</a:t>
            </a:r>
            <a:r>
              <a:rPr lang="pl-PL" sz="4000" b="1" dirty="0" smtClean="0">
                <a:solidFill>
                  <a:schemeClr val="bg1">
                    <a:lumMod val="65000"/>
                  </a:schemeClr>
                </a:solidFill>
              </a:rPr>
              <a:t>J</a:t>
            </a:r>
            <a:r>
              <a:rPr lang="en-US" sz="4000" b="1" dirty="0" err="1" smtClean="0">
                <a:solidFill>
                  <a:schemeClr val="bg1">
                    <a:lumMod val="65000"/>
                  </a:schemeClr>
                </a:solidFill>
              </a:rPr>
              <a:t>ohnHopkinsUniversityLafayetteCollegeMassachusettsInstitute</a:t>
            </a:r>
            <a:r>
              <a:rPr lang="pl-PL" sz="4000" b="1" dirty="0" smtClean="0">
                <a:solidFill>
                  <a:schemeClr val="bg1">
                    <a:lumMod val="65000"/>
                  </a:schemeClr>
                </a:solidFill>
              </a:rPr>
              <a:t>O</a:t>
            </a:r>
            <a:r>
              <a:rPr lang="en-US" sz="4000" b="1" dirty="0" err="1" smtClean="0">
                <a:solidFill>
                  <a:schemeClr val="bg1">
                    <a:lumMod val="65000"/>
                  </a:schemeClr>
                </a:solidFill>
              </a:rPr>
              <a:t>fTechnology</a:t>
            </a:r>
            <a:endParaRPr lang="en-US" sz="4000" b="1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10008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 txBox="1">
            <a:spLocks/>
          </p:cNvSpPr>
          <p:nvPr/>
        </p:nvSpPr>
        <p:spPr bwMode="auto">
          <a:xfrm>
            <a:off x="1115773" y="3124200"/>
            <a:ext cx="1735283" cy="9767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13" rIns="0" bIns="45713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marL="548640"/>
            <a:r>
              <a:rPr lang="pl-PL" sz="8000" dirty="0" smtClean="0">
                <a:solidFill>
                  <a:schemeClr val="bg1"/>
                </a:solidFill>
              </a:rPr>
              <a:t>?</a:t>
            </a:r>
            <a:endParaRPr lang="en-US" sz="8000" dirty="0">
              <a:solidFill>
                <a:schemeClr val="bg1"/>
              </a:solidFill>
            </a:endParaRPr>
          </a:p>
        </p:txBody>
      </p:sp>
      <p:sp>
        <p:nvSpPr>
          <p:cNvPr id="8" name="Title 1"/>
          <p:cNvSpPr txBox="1">
            <a:spLocks/>
          </p:cNvSpPr>
          <p:nvPr/>
        </p:nvSpPr>
        <p:spPr bwMode="auto">
          <a:xfrm>
            <a:off x="41564" y="48491"/>
            <a:ext cx="5978236" cy="9767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13" rIns="0" bIns="45713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marL="548640"/>
            <a:r>
              <a:rPr lang="en-US" sz="6600" dirty="0" err="1" smtClean="0"/>
              <a:t>Pytania</a:t>
            </a:r>
            <a:endParaRPr lang="en-US" sz="6600" dirty="0"/>
          </a:p>
        </p:txBody>
      </p:sp>
    </p:spTree>
    <p:extLst>
      <p:ext uri="{BB962C8B-B14F-4D97-AF65-F5344CB8AC3E}">
        <p14:creationId xmlns:p14="http://schemas.microsoft.com/office/powerpoint/2010/main" val="28232912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 bwMode="auto">
          <a:xfrm>
            <a:off x="-41565" y="0"/>
            <a:ext cx="9144000" cy="9767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13" rIns="0" bIns="45713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marL="548640"/>
            <a:r>
              <a:rPr lang="en-US" sz="4000" dirty="0" smtClean="0"/>
              <a:t>* </a:t>
            </a:r>
            <a:r>
              <a:rPr lang="pl-PL" sz="5400" dirty="0" smtClean="0"/>
              <a:t>United World Colleges</a:t>
            </a:r>
            <a:endParaRPr lang="en-US" sz="5400" dirty="0"/>
          </a:p>
        </p:txBody>
      </p:sp>
      <p:sp>
        <p:nvSpPr>
          <p:cNvPr id="7" name="TextBox 6"/>
          <p:cNvSpPr txBox="1"/>
          <p:nvPr/>
        </p:nvSpPr>
        <p:spPr>
          <a:xfrm>
            <a:off x="20779" y="1163782"/>
            <a:ext cx="9116291" cy="3139321"/>
          </a:xfrm>
          <a:prstGeom prst="rect">
            <a:avLst/>
          </a:prstGeom>
          <a:noFill/>
        </p:spPr>
        <p:txBody>
          <a:bodyPr wrap="square" lIns="731520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l-PL" sz="3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13 szkół na 5 kontynentach</a:t>
            </a:r>
          </a:p>
          <a:p>
            <a:pPr>
              <a:lnSpc>
                <a:spcPct val="150000"/>
              </a:lnSpc>
            </a:pPr>
            <a:r>
              <a:rPr lang="pl-PL" sz="3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2 ostatnie lata liceum</a:t>
            </a:r>
          </a:p>
          <a:p>
            <a:pPr>
              <a:lnSpc>
                <a:spcPct val="150000"/>
              </a:lnSpc>
            </a:pPr>
            <a:r>
              <a:rPr lang="pl-PL" sz="3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Międzynarodowa matura (IB)</a:t>
            </a:r>
            <a:endParaRPr lang="en-US" sz="3600" b="1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endParaRPr lang="en-US" dirty="0" smtClean="0"/>
          </a:p>
          <a:p>
            <a:endParaRPr lang="en-US" dirty="0"/>
          </a:p>
        </p:txBody>
      </p:sp>
      <p:pic>
        <p:nvPicPr>
          <p:cNvPr id="4" name="Picture 4" descr="glowka[1]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61" y="3959979"/>
            <a:ext cx="9130148" cy="15590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le 1"/>
          <p:cNvSpPr txBox="1">
            <a:spLocks/>
          </p:cNvSpPr>
          <p:nvPr/>
        </p:nvSpPr>
        <p:spPr bwMode="auto">
          <a:xfrm>
            <a:off x="-13857" y="5715000"/>
            <a:ext cx="9144000" cy="9767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13" rIns="0" bIns="45713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marL="548640" algn="ctr"/>
            <a:r>
              <a:rPr lang="pl-PL" sz="6000" dirty="0" smtClean="0"/>
              <a:t>www.uwc.org.pl</a:t>
            </a:r>
            <a:endParaRPr lang="en-US" sz="8000" dirty="0"/>
          </a:p>
        </p:txBody>
      </p:sp>
    </p:spTree>
    <p:extLst>
      <p:ext uri="{BB962C8B-B14F-4D97-AF65-F5344CB8AC3E}">
        <p14:creationId xmlns:p14="http://schemas.microsoft.com/office/powerpoint/2010/main" val="11116943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 bwMode="auto">
          <a:xfrm>
            <a:off x="-41565" y="0"/>
            <a:ext cx="9144000" cy="9767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13" rIns="0" bIns="45713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marL="548640"/>
            <a:r>
              <a:rPr lang="en-US" sz="4000" dirty="0" smtClean="0"/>
              <a:t>* </a:t>
            </a:r>
            <a:r>
              <a:rPr lang="pl-PL" sz="5400" dirty="0" smtClean="0"/>
              <a:t>Kontakt</a:t>
            </a:r>
            <a:endParaRPr lang="en-US" sz="5400" dirty="0"/>
          </a:p>
        </p:txBody>
      </p:sp>
      <p:sp>
        <p:nvSpPr>
          <p:cNvPr id="4" name="TextBox 3"/>
          <p:cNvSpPr txBox="1"/>
          <p:nvPr/>
        </p:nvSpPr>
        <p:spPr>
          <a:xfrm>
            <a:off x="-1" y="1600200"/>
            <a:ext cx="9116291" cy="4893647"/>
          </a:xfrm>
          <a:prstGeom prst="rect">
            <a:avLst/>
          </a:prstGeom>
          <a:noFill/>
        </p:spPr>
        <p:txBody>
          <a:bodyPr wrap="square" lIns="731520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l-PL" sz="32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Paweł Rzemieniecki –</a:t>
            </a:r>
            <a:r>
              <a:rPr lang="en-US" sz="32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pjr44@cam.ac.uk</a:t>
            </a:r>
          </a:p>
          <a:p>
            <a:pPr>
              <a:lnSpc>
                <a:spcPct val="150000"/>
              </a:lnSpc>
            </a:pPr>
            <a:r>
              <a:rPr lang="pl-PL" sz="32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Wiktor Jakubiuk – victorj@mit.edu</a:t>
            </a:r>
          </a:p>
          <a:p>
            <a:pPr algn="ctr">
              <a:lnSpc>
                <a:spcPct val="150000"/>
              </a:lnSpc>
            </a:pPr>
            <a:r>
              <a:rPr lang="pl-PL" sz="36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/>
            </a:r>
            <a:br>
              <a:rPr lang="pl-PL" sz="36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pl-PL" sz="3600" b="1" dirty="0" smtClean="0">
                <a:solidFill>
                  <a:srgbClr val="FF0000"/>
                </a:solidFill>
              </a:rPr>
              <a:t>www.uwc.org.pl</a:t>
            </a:r>
          </a:p>
          <a:p>
            <a:pPr algn="ctr">
              <a:lnSpc>
                <a:spcPct val="150000"/>
              </a:lnSpc>
            </a:pPr>
            <a:r>
              <a:rPr lang="pl-PL" sz="2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www.commonapp.org, www.pso-usa.org, www.ucas.com, www.jakubiuk.net/studia</a:t>
            </a:r>
            <a:endParaRPr lang="en-US" sz="3600" b="1" dirty="0" smtClean="0">
              <a:solidFill>
                <a:srgbClr val="FF0000"/>
              </a:solidFill>
            </a:endParaRPr>
          </a:p>
          <a:p>
            <a:endParaRPr lang="en-US" dirty="0" smtClean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76313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 bwMode="auto">
          <a:xfrm>
            <a:off x="-41565" y="0"/>
            <a:ext cx="9144000" cy="9767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13" rIns="0" bIns="45713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marL="548640"/>
            <a:r>
              <a:rPr lang="en-US" sz="4000" dirty="0" smtClean="0"/>
              <a:t>* </a:t>
            </a:r>
            <a:r>
              <a:rPr lang="pl-PL" sz="5400" dirty="0" smtClean="0"/>
              <a:t>United World Colleges</a:t>
            </a:r>
            <a:endParaRPr lang="en-US" sz="5400" dirty="0"/>
          </a:p>
        </p:txBody>
      </p:sp>
      <p:pic>
        <p:nvPicPr>
          <p:cNvPr id="4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800" y="1143000"/>
            <a:ext cx="8610599" cy="5606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229699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 bwMode="auto">
          <a:xfrm>
            <a:off x="-41565" y="0"/>
            <a:ext cx="9144000" cy="9767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13" rIns="0" bIns="45713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marL="548640"/>
            <a:r>
              <a:rPr lang="en-US" sz="4000" dirty="0" smtClean="0"/>
              <a:t>* </a:t>
            </a:r>
            <a:r>
              <a:rPr lang="pl-PL" sz="5400" dirty="0" smtClean="0"/>
              <a:t>Szkoły w Anglii</a:t>
            </a:r>
            <a:endParaRPr lang="en-US" sz="5400" dirty="0"/>
          </a:p>
        </p:txBody>
      </p:sp>
      <p:pic>
        <p:nvPicPr>
          <p:cNvPr id="5" name="Picture 2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1100" y="1216966"/>
            <a:ext cx="6781800" cy="56410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347468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 bwMode="auto">
          <a:xfrm>
            <a:off x="-41565" y="0"/>
            <a:ext cx="9144000" cy="9767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13" rIns="0" bIns="45713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marL="548640"/>
            <a:r>
              <a:rPr lang="en-US" sz="4000" dirty="0" smtClean="0"/>
              <a:t>* </a:t>
            </a:r>
            <a:r>
              <a:rPr lang="pl-PL" sz="5400" dirty="0" smtClean="0"/>
              <a:t>Stonyhurst College</a:t>
            </a:r>
            <a:endParaRPr lang="en-US" sz="5400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76745"/>
            <a:ext cx="9144000" cy="58881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99148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 bwMode="auto">
          <a:xfrm>
            <a:off x="-41565" y="0"/>
            <a:ext cx="9144000" cy="9767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13" rIns="0" bIns="45713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marL="548640"/>
            <a:r>
              <a:rPr lang="en-US" sz="4000" dirty="0" smtClean="0"/>
              <a:t>* </a:t>
            </a:r>
            <a:r>
              <a:rPr lang="pl-PL" sz="5400" dirty="0" smtClean="0"/>
              <a:t>Dulwich College</a:t>
            </a:r>
            <a:endParaRPr lang="en-US" sz="5400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66800"/>
            <a:ext cx="9753600" cy="731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30422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 bwMode="auto">
          <a:xfrm>
            <a:off x="-41565" y="0"/>
            <a:ext cx="9144000" cy="9767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13" rIns="0" bIns="45713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marL="548640"/>
            <a:r>
              <a:rPr lang="en-US" sz="4000" dirty="0" smtClean="0"/>
              <a:t>* </a:t>
            </a:r>
            <a:r>
              <a:rPr lang="pl-PL" sz="5400" dirty="0" smtClean="0"/>
              <a:t>UWC</a:t>
            </a:r>
            <a:endParaRPr lang="en-US" sz="5400" dirty="0"/>
          </a:p>
        </p:txBody>
      </p:sp>
      <p:sp>
        <p:nvSpPr>
          <p:cNvPr id="3" name="TextBox 2"/>
          <p:cNvSpPr txBox="1"/>
          <p:nvPr/>
        </p:nvSpPr>
        <p:spPr>
          <a:xfrm>
            <a:off x="-1" y="1600200"/>
            <a:ext cx="9116291" cy="3816429"/>
          </a:xfrm>
          <a:prstGeom prst="rect">
            <a:avLst/>
          </a:prstGeom>
          <a:noFill/>
        </p:spPr>
        <p:txBody>
          <a:bodyPr wrap="square" lIns="731520" rtlCol="0">
            <a:spAutoFit/>
          </a:bodyPr>
          <a:lstStyle/>
          <a:p>
            <a:pPr algn="ctr"/>
            <a:r>
              <a:rPr lang="pl-PL" sz="80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www.uwc.org.pl</a:t>
            </a:r>
            <a:r>
              <a:rPr lang="pl-PL" sz="72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/>
            </a:r>
            <a:br>
              <a:rPr lang="pl-PL" sz="72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pl-PL" sz="72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/>
            </a:r>
            <a:br>
              <a:rPr lang="pl-PL" sz="72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pl-PL" sz="72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Do </a:t>
            </a:r>
            <a:r>
              <a:rPr lang="pl-PL" sz="7200" b="1" dirty="0" smtClean="0">
                <a:solidFill>
                  <a:srgbClr val="FF0000"/>
                </a:solidFill>
              </a:rPr>
              <a:t>15</a:t>
            </a:r>
            <a:r>
              <a:rPr lang="pl-PL" sz="72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stycznia!</a:t>
            </a:r>
            <a:endParaRPr lang="en-US" sz="4400" dirty="0" smtClean="0"/>
          </a:p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78129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B50NHyBkumkd2vHyCCM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KS4BcxZkOTYoru9DFpU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4cod7ij00WR6SRx1eO13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2WV9Uc13kG30scAGYY.F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WqyEdMAkCs.2Z.ftAXPA"/>
</p:tagLst>
</file>

<file path=ppt/theme/theme1.xml><?xml version="1.0" encoding="utf-8"?>
<a:theme xmlns:a="http://schemas.openxmlformats.org/drawingml/2006/main" name="Theme1">
  <a:themeElements>
    <a:clrScheme name="128381-14 1">
      <a:dk1>
        <a:srgbClr val="000000"/>
      </a:dk1>
      <a:lt1>
        <a:srgbClr val="FFFFFF"/>
      </a:lt1>
      <a:dk2>
        <a:srgbClr val="004C92"/>
      </a:dk2>
      <a:lt2>
        <a:srgbClr val="808080"/>
      </a:lt2>
      <a:accent1>
        <a:srgbClr val="E2E2E2"/>
      </a:accent1>
      <a:accent2>
        <a:srgbClr val="CBD5E7"/>
      </a:accent2>
      <a:accent3>
        <a:srgbClr val="FFFFFF"/>
      </a:accent3>
      <a:accent4>
        <a:srgbClr val="000000"/>
      </a:accent4>
      <a:accent5>
        <a:srgbClr val="EEEEEE"/>
      </a:accent5>
      <a:accent6>
        <a:srgbClr val="B8C1D1"/>
      </a:accent6>
      <a:hlink>
        <a:srgbClr val="426BBE"/>
      </a:hlink>
      <a:folHlink>
        <a:srgbClr val="8899C5"/>
      </a:folHlink>
    </a:clrScheme>
    <a:fontScheme name="128381-14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lg" len="lg"/>
          <a:tailEnd type="none" w="lg" len="lg"/>
        </a:ln>
        <a:effectLst/>
      </a:spPr>
      <a:bodyPr vert="horz" wrap="none" lIns="91440" tIns="91440" rIns="91440" bIns="9144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lg" len="lg"/>
          <a:tailEnd type="none" w="lg" len="lg"/>
        </a:ln>
        <a:effectLst/>
      </a:spPr>
      <a:bodyPr vert="horz" wrap="none" lIns="91440" tIns="91440" rIns="91440" bIns="9144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128381-14 1">
        <a:dk1>
          <a:srgbClr val="000000"/>
        </a:dk1>
        <a:lt1>
          <a:srgbClr val="FFFFFF"/>
        </a:lt1>
        <a:dk2>
          <a:srgbClr val="004C92"/>
        </a:dk2>
        <a:lt2>
          <a:srgbClr val="808080"/>
        </a:lt2>
        <a:accent1>
          <a:srgbClr val="E2E2E2"/>
        </a:accent1>
        <a:accent2>
          <a:srgbClr val="CBD5E7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B8C1D1"/>
        </a:accent6>
        <a:hlink>
          <a:srgbClr val="426BBE"/>
        </a:hlink>
        <a:folHlink>
          <a:srgbClr val="8899C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heme1</Template>
  <TotalTime>3559</TotalTime>
  <Words>963</Words>
  <Application>Microsoft Office PowerPoint</Application>
  <PresentationFormat>On-screen Show (4:3)</PresentationFormat>
  <Paragraphs>294</Paragraphs>
  <Slides>40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0</vt:i4>
      </vt:variant>
    </vt:vector>
  </HeadingPairs>
  <TitlesOfParts>
    <vt:vector size="42" baseType="lpstr">
      <vt:lpstr>Theme1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victor</dc:creator>
  <cp:lastModifiedBy>victor</cp:lastModifiedBy>
  <cp:revision>93</cp:revision>
  <dcterms:created xsi:type="dcterms:W3CDTF">2010-12-17T00:27:22Z</dcterms:created>
  <dcterms:modified xsi:type="dcterms:W3CDTF">2011-01-04T00:07:54Z</dcterms:modified>
</cp:coreProperties>
</file>